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0" r:id="rId2"/>
  </p:sldMasterIdLst>
  <p:notesMasterIdLst>
    <p:notesMasterId r:id="rId13"/>
  </p:notesMasterIdLst>
  <p:sldIdLst>
    <p:sldId id="256" r:id="rId3"/>
    <p:sldId id="265" r:id="rId4"/>
    <p:sldId id="261" r:id="rId5"/>
    <p:sldId id="262" r:id="rId6"/>
    <p:sldId id="263" r:id="rId7"/>
    <p:sldId id="264" r:id="rId8"/>
    <p:sldId id="257" r:id="rId9"/>
    <p:sldId id="258" r:id="rId10"/>
    <p:sldId id="259" r:id="rId11"/>
    <p:sldId id="260" r:id="rId1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5393" autoAdjust="0"/>
  </p:normalViewPr>
  <p:slideViewPr>
    <p:cSldViewPr>
      <p:cViewPr varScale="1">
        <p:scale>
          <a:sx n="57" d="100"/>
          <a:sy n="57" d="100"/>
        </p:scale>
        <p:origin x="1776" y="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5D9DEB-8D17-44D8-89C5-504AC95473B4}" type="datetimeFigureOut">
              <a:rPr lang="en-GB" smtClean="0"/>
              <a:t>07/12/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BB8159-5CDE-4634-8C5A-3005F6D7C22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94066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Mention</a:t>
            </a:r>
            <a:r>
              <a:rPr lang="en-GB" baseline="0" dirty="0" smtClean="0"/>
              <a:t> these things that can be don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B8159-5CDE-4634-8C5A-3005F6D7C227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41094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But</a:t>
            </a:r>
            <a:r>
              <a:rPr lang="en-GB" baseline="0" dirty="0" smtClean="0"/>
              <a:t> most importantly it about doing things different and fighting the caus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26202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20186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88074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36352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Go</a:t>
            </a:r>
            <a:r>
              <a:rPr lang="en-GB" baseline="0" dirty="0" smtClean="0"/>
              <a:t> back to your day jobs, is it going to be like this?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4901389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So if you are going to go back to your</a:t>
            </a:r>
            <a:r>
              <a:rPr lang="en-GB" baseline="0" dirty="0" smtClean="0"/>
              <a:t> clients and take just one thing from this talk (to preach about)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1049906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If you</a:t>
            </a:r>
            <a:r>
              <a:rPr lang="en-GB" baseline="0" dirty="0" smtClean="0"/>
              <a:t> fancy trying a number of things, try these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58059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If</a:t>
            </a:r>
            <a:r>
              <a:rPr lang="en-GB" baseline="0" dirty="0" smtClean="0"/>
              <a:t> it seems hard, there is help out t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1056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4" Type="http://schemas.microsoft.com/office/2007/relationships/hdphoto" Target="../media/hdphoto1.wdp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image" Target="../media/image37.emf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5" name="Picture 2" descr="\\JBWServer\Shared\Clients\Presentations\Accenture\Lynette Oelschig - 12-4142 - Cloud ppt templates and style guide\Working Files\Final Images\99734330.jpg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/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4" descr="\\JBWServer\Shared\transit\_To_Tim\white blur 1.pn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 bwMode="auto">
            <a:xfrm>
              <a:off x="0" y="0"/>
              <a:ext cx="4273984" cy="29473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7" name="Straight Connector 9"/>
            <p:cNvCxnSpPr>
              <a:cxnSpLocks noChangeShapeType="1"/>
            </p:cNvCxnSpPr>
            <p:nvPr/>
          </p:nvCxnSpPr>
          <p:spPr bwMode="auto">
            <a:xfrm>
              <a:off x="496888" y="1102300"/>
              <a:ext cx="864711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</p:cxn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07288" y="797819"/>
              <a:ext cx="2528887" cy="175897"/>
            </a:xfrm>
            <a:prstGeom prst="rect">
              <a:avLst/>
            </a:prstGeom>
          </p:spPr>
        </p:pic>
        <p:grpSp>
          <p:nvGrpSpPr>
            <p:cNvPr id="9" name="Group 8"/>
            <p:cNvGrpSpPr/>
            <p:nvPr/>
          </p:nvGrpSpPr>
          <p:grpSpPr>
            <a:xfrm>
              <a:off x="495299" y="312167"/>
              <a:ext cx="2183716" cy="635721"/>
              <a:chOff x="459321" y="5788818"/>
              <a:chExt cx="2183716" cy="635721"/>
            </a:xfrm>
          </p:grpSpPr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9321" y="6039743"/>
                <a:ext cx="2183716" cy="384796"/>
              </a:xfrm>
              <a:prstGeom prst="rect">
                <a:avLst/>
              </a:prstGeom>
            </p:spPr>
          </p:pic>
          <p:sp>
            <p:nvSpPr>
              <p:cNvPr id="14" name="Freeform 13"/>
              <p:cNvSpPr/>
              <p:nvPr/>
            </p:nvSpPr>
            <p:spPr>
              <a:xfrm>
                <a:off x="1741785" y="5788818"/>
                <a:ext cx="210221" cy="215102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5633931" y="1692955"/>
              <a:ext cx="3074395" cy="2060440"/>
              <a:chOff x="5701703" y="682760"/>
              <a:chExt cx="3074395" cy="2060440"/>
            </a:xfrm>
          </p:grpSpPr>
          <p:sp>
            <p:nvSpPr>
              <p:cNvPr id="11" name="Freeform 10"/>
              <p:cNvSpPr/>
              <p:nvPr/>
            </p:nvSpPr>
            <p:spPr>
              <a:xfrm>
                <a:off x="6164291" y="682760"/>
                <a:ext cx="2013677" cy="2060440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12" name="Picture 11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01703" y="1523009"/>
                <a:ext cx="3074395" cy="251999"/>
              </a:xfrm>
              <a:prstGeom prst="rect">
                <a:avLst/>
              </a:prstGeom>
            </p:spPr>
          </p:pic>
        </p:grp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92" y="1599032"/>
            <a:ext cx="4075113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Module #</a:t>
            </a:r>
            <a:br>
              <a:rPr lang="en-US" dirty="0" smtClean="0"/>
            </a:br>
            <a:r>
              <a:rPr lang="en-US" dirty="0" smtClean="0"/>
              <a:t>Module name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496892" y="2669757"/>
            <a:ext cx="4075113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tx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 err="1" smtClean="0"/>
              <a:t>DevOps</a:t>
            </a:r>
            <a:r>
              <a:rPr lang="en-US" dirty="0" smtClean="0"/>
              <a:t> Academy</a:t>
            </a:r>
          </a:p>
        </p:txBody>
      </p:sp>
    </p:spTree>
    <p:extLst>
      <p:ext uri="{BB962C8B-B14F-4D97-AF65-F5344CB8AC3E}">
        <p14:creationId xmlns:p14="http://schemas.microsoft.com/office/powerpoint/2010/main" val="416168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0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15" name="Picture 2" descr="\\JBWServer\Shared\Clients\Presentations\Accenture\Lynette Oelschig - 12-4142 - Cloud ppt templates and style guide\Working Files\Final Images\159002441.jpg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4" descr="\\JBWServer\Shared\transit\_To_Tim\white blur 1.pn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 bwMode="auto">
            <a:xfrm>
              <a:off x="0" y="0"/>
              <a:ext cx="4273984" cy="29473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7" name="Straight Connector 9"/>
            <p:cNvCxnSpPr>
              <a:cxnSpLocks noChangeShapeType="1"/>
            </p:cNvCxnSpPr>
            <p:nvPr/>
          </p:nvCxnSpPr>
          <p:spPr bwMode="auto">
            <a:xfrm>
              <a:off x="496888" y="1102300"/>
              <a:ext cx="864711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</p:cxn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07288" y="797819"/>
              <a:ext cx="2528887" cy="175897"/>
            </a:xfrm>
            <a:prstGeom prst="rect">
              <a:avLst/>
            </a:prstGeom>
          </p:spPr>
        </p:pic>
        <p:grpSp>
          <p:nvGrpSpPr>
            <p:cNvPr id="19" name="Group 18"/>
            <p:cNvGrpSpPr/>
            <p:nvPr/>
          </p:nvGrpSpPr>
          <p:grpSpPr>
            <a:xfrm>
              <a:off x="495299" y="312167"/>
              <a:ext cx="2183716" cy="635721"/>
              <a:chOff x="459321" y="5788818"/>
              <a:chExt cx="2183716" cy="635721"/>
            </a:xfrm>
          </p:grpSpPr>
          <p:pic>
            <p:nvPicPr>
              <p:cNvPr id="23" name="Picture 22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9321" y="6039743"/>
                <a:ext cx="2183716" cy="384796"/>
              </a:xfrm>
              <a:prstGeom prst="rect">
                <a:avLst/>
              </a:prstGeom>
            </p:spPr>
          </p:pic>
          <p:sp>
            <p:nvSpPr>
              <p:cNvPr id="24" name="Freeform 23"/>
              <p:cNvSpPr/>
              <p:nvPr/>
            </p:nvSpPr>
            <p:spPr>
              <a:xfrm>
                <a:off x="1741785" y="5788818"/>
                <a:ext cx="210221" cy="215102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0" name="Group 19"/>
            <p:cNvGrpSpPr/>
            <p:nvPr/>
          </p:nvGrpSpPr>
          <p:grpSpPr>
            <a:xfrm>
              <a:off x="5633931" y="1771785"/>
              <a:ext cx="3074395" cy="2060440"/>
              <a:chOff x="5701703" y="682760"/>
              <a:chExt cx="3074395" cy="2060440"/>
            </a:xfrm>
          </p:grpSpPr>
          <p:sp>
            <p:nvSpPr>
              <p:cNvPr id="21" name="Freeform 20"/>
              <p:cNvSpPr/>
              <p:nvPr/>
            </p:nvSpPr>
            <p:spPr>
              <a:xfrm>
                <a:off x="6164291" y="682760"/>
                <a:ext cx="2013677" cy="2060440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22" name="Picture 21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01703" y="1523009"/>
                <a:ext cx="3074395" cy="251999"/>
              </a:xfrm>
              <a:prstGeom prst="rect">
                <a:avLst/>
              </a:prstGeom>
            </p:spPr>
          </p:pic>
        </p:grp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92" y="1599032"/>
            <a:ext cx="4075113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0"/>
          </p:nvPr>
        </p:nvSpPr>
        <p:spPr>
          <a:xfrm>
            <a:off x="496892" y="2669757"/>
            <a:ext cx="4075113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tx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162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1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15" name="Picture 2" descr="\\JBWServer\Shared\Clients\Presentations\Accenture\Lynette Oelschig - 12-4142 - Cloud ppt templates and style guide\Working Files\Final Images\155542779.jpg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6" name="Straight Connector 9"/>
            <p:cNvCxnSpPr>
              <a:cxnSpLocks noChangeShapeType="1"/>
            </p:cNvCxnSpPr>
            <p:nvPr/>
          </p:nvCxnSpPr>
          <p:spPr bwMode="auto">
            <a:xfrm>
              <a:off x="496800" y="6550025"/>
              <a:ext cx="864720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</p:cxn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07288" y="6251894"/>
              <a:ext cx="2528887" cy="175897"/>
            </a:xfrm>
            <a:prstGeom prst="rect">
              <a:avLst/>
            </a:prstGeom>
          </p:spPr>
        </p:pic>
        <p:grpSp>
          <p:nvGrpSpPr>
            <p:cNvPr id="18" name="Group 17"/>
            <p:cNvGrpSpPr/>
            <p:nvPr/>
          </p:nvGrpSpPr>
          <p:grpSpPr>
            <a:xfrm>
              <a:off x="5633931" y="2137580"/>
              <a:ext cx="3074395" cy="2060440"/>
              <a:chOff x="5701703" y="682760"/>
              <a:chExt cx="3074395" cy="2060440"/>
            </a:xfrm>
          </p:grpSpPr>
          <p:sp>
            <p:nvSpPr>
              <p:cNvPr id="22" name="Freeform 21"/>
              <p:cNvSpPr/>
              <p:nvPr/>
            </p:nvSpPr>
            <p:spPr>
              <a:xfrm>
                <a:off x="6164291" y="682760"/>
                <a:ext cx="2013677" cy="2060440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23" name="Picture 22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01703" y="1523009"/>
                <a:ext cx="3074395" cy="251999"/>
              </a:xfrm>
              <a:prstGeom prst="rect">
                <a:avLst/>
              </a:prstGeom>
            </p:spPr>
          </p:pic>
        </p:grpSp>
        <p:grpSp>
          <p:nvGrpSpPr>
            <p:cNvPr id="19" name="Group 18"/>
            <p:cNvGrpSpPr/>
            <p:nvPr/>
          </p:nvGrpSpPr>
          <p:grpSpPr>
            <a:xfrm>
              <a:off x="495299" y="5753967"/>
              <a:ext cx="2183716" cy="635721"/>
              <a:chOff x="459321" y="5788818"/>
              <a:chExt cx="2183716" cy="635721"/>
            </a:xfrm>
          </p:grpSpPr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9321" y="6039743"/>
                <a:ext cx="2183716" cy="384796"/>
              </a:xfrm>
              <a:prstGeom prst="rect">
                <a:avLst/>
              </a:prstGeom>
            </p:spPr>
          </p:pic>
          <p:sp>
            <p:nvSpPr>
              <p:cNvPr id="21" name="Freeform 20"/>
              <p:cNvSpPr/>
              <p:nvPr/>
            </p:nvSpPr>
            <p:spPr>
              <a:xfrm>
                <a:off x="1741785" y="5788818"/>
                <a:ext cx="210221" cy="215102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5305" y="912030"/>
            <a:ext cx="4473743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0"/>
          </p:nvPr>
        </p:nvSpPr>
        <p:spPr>
          <a:xfrm>
            <a:off x="495304" y="1982756"/>
            <a:ext cx="4473743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tx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458789" y="6535748"/>
            <a:ext cx="8345487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100000"/>
              </a:lnSpc>
              <a:defRPr/>
            </a:pPr>
            <a:r>
              <a:rPr lang="en-US" sz="1000" b="0" dirty="0">
                <a:solidFill>
                  <a:schemeClr val="tx1"/>
                </a:solidFill>
                <a:latin typeface="Arial" pitchFamily="34" charset="0"/>
              </a:rPr>
              <a:t>Copyright © </a:t>
            </a:r>
            <a:r>
              <a:rPr lang="en-US" sz="1000" b="0" dirty="0" smtClean="0">
                <a:solidFill>
                  <a:schemeClr val="tx1"/>
                </a:solidFill>
                <a:latin typeface="Arial" pitchFamily="34" charset="0"/>
              </a:rPr>
              <a:t>2014 </a:t>
            </a:r>
            <a:r>
              <a:rPr lang="en-US" sz="1000" b="0" dirty="0">
                <a:solidFill>
                  <a:schemeClr val="tx1"/>
                </a:solidFill>
                <a:latin typeface="Arial" pitchFamily="34" charset="0"/>
              </a:rPr>
              <a:t>Accenture All Rights Reserved. Accenture, its logo, and High Performance Delivered are trademarks of Accenture.</a:t>
            </a:r>
          </a:p>
        </p:txBody>
      </p:sp>
    </p:spTree>
    <p:extLst>
      <p:ext uri="{BB962C8B-B14F-4D97-AF65-F5344CB8AC3E}">
        <p14:creationId xmlns:p14="http://schemas.microsoft.com/office/powerpoint/2010/main" val="66166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lumn Text slide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96889" y="1166781"/>
            <a:ext cx="4019550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496803" y="1562789"/>
            <a:ext cx="4019550" cy="482690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4627568" y="1166781"/>
            <a:ext cx="4021137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7"/>
          </p:nvPr>
        </p:nvSpPr>
        <p:spPr>
          <a:xfrm>
            <a:off x="4627568" y="1562789"/>
            <a:ext cx="4021137" cy="482690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21687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lumn Text slid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96800" y="1166781"/>
            <a:ext cx="8151900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496801" y="1562789"/>
            <a:ext cx="4019638" cy="482690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17"/>
          </p:nvPr>
        </p:nvSpPr>
        <p:spPr>
          <a:xfrm>
            <a:off x="4627568" y="1562789"/>
            <a:ext cx="4021137" cy="482690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77985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496800" y="1169377"/>
            <a:ext cx="8151900" cy="522031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8037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>
          <a:xfrm>
            <a:off x="496801" y="1168094"/>
            <a:ext cx="4019638" cy="522159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7"/>
          </p:nvPr>
        </p:nvSpPr>
        <p:spPr>
          <a:xfrm>
            <a:off x="4627563" y="1168094"/>
            <a:ext cx="4021138" cy="522159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59755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96800" y="1166781"/>
            <a:ext cx="8151900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70406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70406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8085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93" y="1256061"/>
            <a:ext cx="8151811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803553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228892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96800" y="1166781"/>
            <a:ext cx="8151900" cy="39654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96800" y="1563329"/>
            <a:ext cx="8151900" cy="4826359"/>
          </a:xfrm>
        </p:spPr>
        <p:txBody>
          <a:bodyPr/>
          <a:lstStyle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2688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8" y="1256061"/>
            <a:ext cx="8151812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803553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04555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JBWServer\Shared\Clients\Presentations\Accenture\Lynette Oelschig - 12-4142 - Cloud ppt templates and style guide\Working Files\Final Images\Credentials_8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770008"/>
            <a:ext cx="4019550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317500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003161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JBWServer\Shared\Clients\Presentations\Accenture\Lynette Oelschig - 12-4142 - Cloud ppt templates and style guide\Working Files\Final Images\Stage 0_12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770008"/>
            <a:ext cx="4019550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317500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4712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\\JBWServer\Shared\Clients\Presentations\Accenture\Lynette Oelschig - 12-4142 - Cloud ppt templates and style guide\Working Files\Final Images\Stage 0_10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770008"/>
            <a:ext cx="4019550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317500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8048083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JBWServer\Shared\Clients\Presentations\Accenture\Lynette Oelschig - 12-4142 - Cloud ppt templates and style guide\Working Files\Final Images\shutterstock_5955640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93" y="3915124"/>
            <a:ext cx="8151811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3462616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285597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JBWServer\Shared\Clients\Presentations\Accenture\Lynette Oelschig - 12-4142 - Cloud ppt templates and style guide\Working Files\Final Images\99760752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587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93" y="770008"/>
            <a:ext cx="8151811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317500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38545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JBWServer\Shared\Clients\Presentations\Accenture\Lynette Oelschig - 12-4142 - Cloud ppt templates and style guide\Working Files\Final Images\127033920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93" y="770008"/>
            <a:ext cx="8151811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317500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697551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0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JBWServer\Shared\Clients\Presentations\Accenture\Lynette Oelschig - 12-4142 - Cloud ppt templates and style guide\Working Files\Final Images\159002441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93" y="1784892"/>
            <a:ext cx="8151811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1332384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959511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1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JBWServer\Shared\Clients\Presentations\Accenture\Lynette Oelschig - 12-4142 - Cloud ppt templates and style guide\Working Files\Final Images\155542779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93" y="770008"/>
            <a:ext cx="8151811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317500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82419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JBWServer\Shared\Clients\Presentations\Accenture\Lynette Oelschig - 12-4142 - Cloud ppt templates and style guide\Working Files\Final Images\133694021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1256061"/>
            <a:ext cx="4019550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803553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571578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JBWServer\Shared\Clients\Presentations\Accenture\Lynette Oelschig - 12-4142 - Cloud ppt templates and style guide\Working Files\Final Images\COLOURBOX1463173[1]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1430886"/>
            <a:ext cx="5399086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0"/>
          </p:nvPr>
        </p:nvSpPr>
        <p:spPr>
          <a:xfrm>
            <a:off x="496888" y="2501613"/>
            <a:ext cx="5399086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tx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5633935" y="4057690"/>
            <a:ext cx="3074395" cy="2060440"/>
            <a:chOff x="5701703" y="682760"/>
            <a:chExt cx="3074395" cy="2060440"/>
          </a:xfrm>
        </p:grpSpPr>
        <p:sp>
          <p:nvSpPr>
            <p:cNvPr id="37" name="Freeform 36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srgbClr val="FFFFFF"/>
                </a:solidFill>
              </a:endParaRPr>
            </a:p>
          </p:txBody>
        </p:sp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grpSp>
        <p:nvGrpSpPr>
          <p:cNvPr id="39" name="Group 38"/>
          <p:cNvGrpSpPr/>
          <p:nvPr/>
        </p:nvGrpSpPr>
        <p:grpSpPr>
          <a:xfrm>
            <a:off x="494508" y="311737"/>
            <a:ext cx="2183719" cy="635721"/>
            <a:chOff x="448031" y="5788818"/>
            <a:chExt cx="2183719" cy="635721"/>
          </a:xfrm>
        </p:grpSpPr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031" y="6039743"/>
              <a:ext cx="2183719" cy="384796"/>
            </a:xfrm>
            <a:prstGeom prst="rect">
              <a:avLst/>
            </a:prstGeom>
          </p:spPr>
        </p:pic>
        <p:sp>
          <p:nvSpPr>
            <p:cNvPr id="41" name="Freeform 40"/>
            <p:cNvSpPr/>
            <p:nvPr/>
          </p:nvSpPr>
          <p:spPr>
            <a:xfrm>
              <a:off x="1730496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42" name="Straight Connector 41"/>
          <p:cNvCxnSpPr>
            <a:cxnSpLocks noChangeShapeType="1"/>
          </p:cNvCxnSpPr>
          <p:nvPr/>
        </p:nvCxnSpPr>
        <p:spPr bwMode="auto">
          <a:xfrm>
            <a:off x="496888" y="1102300"/>
            <a:ext cx="864711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pic>
        <p:nvPicPr>
          <p:cNvPr id="43" name="Picture 42"/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7289" y="799865"/>
            <a:ext cx="2528887" cy="171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629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2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JBWServer\Shared\Clients\Presentations\Accenture\Lynette Oelschig - 12-4142 - Cloud ppt templates and style guide\Working Files\Final Images\93484280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1256061"/>
            <a:ext cx="4019550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803553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30986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3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\\JBWServer\Shared\Clients\Presentations\Accenture\Lynette Oelschig - 12-4142 - Cloud ppt templates and style guide\Working Files\Final Images\106586887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1256061"/>
            <a:ext cx="4019550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803553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2974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4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9144000" cy="68580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1256061"/>
            <a:ext cx="4019550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803553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30617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5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JBWServer\Shared\Clients\Presentations\Accenture\Lynette Oelschig - 12-4142 - Cloud ppt templates and style guide\Working Files\Final Images\Stage 0_1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1256061"/>
            <a:ext cx="4019550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803553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89050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JBWServer\Shared\Clients\Presentations\Accenture\Lynette Oelschig - 12-4142 - Cloud ppt templates and style guide\Working Files\Final Images\iStock_000004081765Medium[1]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4284733"/>
            <a:ext cx="4019550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3832225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558085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6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JBWServer\Shared\Clients\Presentations\Accenture\Lynette Oelschig - 12-4142 - Cloud ppt templates and style guide\Working Files\Final Images\shutterstock_99079640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4284733"/>
            <a:ext cx="4019550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3832225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70920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7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JBWServer\Shared\Clients\Presentations\Accenture\Lynette Oelschig - 12-4142 - Cloud ppt templates and style guide\Working Files\Final Images\iStock_000020161944Large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 flipH="1"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93" y="1717746"/>
            <a:ext cx="8151811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1265238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51427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8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JBWServer\Shared\Clients\Presentations\Accenture\Lynette Oelschig - 12-4142 - Cloud ppt templates and style guide\Working Files\Final Images\97242474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8" y="1370729"/>
            <a:ext cx="5399088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918221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909761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9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\\JBWServer\Shared\Clients\Presentations\Accenture\Lynette Oelschig - 12-4142 - Cloud ppt templates and style guide\Working Files\Final Images\158956189PS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93" y="5453718"/>
            <a:ext cx="8151811" cy="756801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5174620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915379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0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\\JBWServer\Shared\Clients\Presentations\Accenture\Lynette Oelschig - 12-4142 - Cloud ppt templates and style guide\Working Files\Final Images\COE_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1235673"/>
            <a:ext cx="4019550" cy="1495805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488934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291673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2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" descr="\\JBWServer\Shared\Clients\Presentations\Accenture\Lynette Oelschig - 12-4142 - Cloud ppt templates and style guide\Working Files\Final Images\shutterstock_5955640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 24"/>
          <p:cNvGrpSpPr/>
          <p:nvPr/>
        </p:nvGrpSpPr>
        <p:grpSpPr>
          <a:xfrm>
            <a:off x="5633935" y="3420466"/>
            <a:ext cx="3074395" cy="2060440"/>
            <a:chOff x="5701703" y="682760"/>
            <a:chExt cx="3074395" cy="2060440"/>
          </a:xfrm>
        </p:grpSpPr>
        <p:sp>
          <p:nvSpPr>
            <p:cNvPr id="32" name="Freeform 31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srgbClr val="FFFFFF"/>
                </a:solidFill>
              </a:endParaRPr>
            </a:p>
          </p:txBody>
        </p:sp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grpSp>
        <p:nvGrpSpPr>
          <p:cNvPr id="26" name="Group 25"/>
          <p:cNvGrpSpPr/>
          <p:nvPr/>
        </p:nvGrpSpPr>
        <p:grpSpPr>
          <a:xfrm>
            <a:off x="494508" y="311737"/>
            <a:ext cx="2183719" cy="635721"/>
            <a:chOff x="448031" y="5788818"/>
            <a:chExt cx="2183719" cy="635721"/>
          </a:xfrm>
        </p:grpSpPr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031" y="6039743"/>
              <a:ext cx="2183719" cy="384796"/>
            </a:xfrm>
            <a:prstGeom prst="rect">
              <a:avLst/>
            </a:prstGeom>
          </p:spPr>
        </p:pic>
        <p:sp>
          <p:nvSpPr>
            <p:cNvPr id="31" name="Freeform 30"/>
            <p:cNvSpPr/>
            <p:nvPr/>
          </p:nvSpPr>
          <p:spPr>
            <a:xfrm>
              <a:off x="1730496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27" name="Straight Connector 26"/>
          <p:cNvCxnSpPr>
            <a:cxnSpLocks noChangeShapeType="1"/>
          </p:cNvCxnSpPr>
          <p:nvPr/>
        </p:nvCxnSpPr>
        <p:spPr bwMode="auto">
          <a:xfrm>
            <a:off x="496888" y="1102300"/>
            <a:ext cx="8647112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</p:spPr>
      </p:cxnSp>
      <p:pic>
        <p:nvPicPr>
          <p:cNvPr id="28" name="Picture 2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7289" y="799865"/>
            <a:ext cx="2528887" cy="1718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92" y="3705735"/>
            <a:ext cx="4075113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0"/>
          </p:nvPr>
        </p:nvSpPr>
        <p:spPr>
          <a:xfrm>
            <a:off x="496892" y="4776462"/>
            <a:ext cx="4075113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bg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3110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57994" y="415429"/>
            <a:ext cx="8686006" cy="0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1035" y="170122"/>
            <a:ext cx="8205261" cy="24530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PCSC: FY14 Roadmap</a:t>
            </a:r>
            <a:endParaRPr lang="en-CA" dirty="0"/>
          </a:p>
        </p:txBody>
      </p:sp>
      <p:sp>
        <p:nvSpPr>
          <p:cNvPr id="8" name="TextBox 7"/>
          <p:cNvSpPr txBox="1"/>
          <p:nvPr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85878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2012 </a:t>
            </a: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94109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57994" y="415429"/>
            <a:ext cx="8686006" cy="0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1035" y="170122"/>
            <a:ext cx="8205261" cy="24530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PCSC: FY14 Roadmap</a:t>
            </a:r>
            <a:endParaRPr lang="en-CA" dirty="0"/>
          </a:p>
        </p:txBody>
      </p:sp>
      <p:sp>
        <p:nvSpPr>
          <p:cNvPr id="8" name="TextBox 7"/>
          <p:cNvSpPr txBox="1"/>
          <p:nvPr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85878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2012 </a:t>
            </a: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94109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57994" y="415429"/>
            <a:ext cx="8686006" cy="0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1035" y="170122"/>
            <a:ext cx="8205261" cy="24530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PCSC: FY14 Roadmap</a:t>
            </a:r>
            <a:endParaRPr lang="en-CA" dirty="0"/>
          </a:p>
        </p:txBody>
      </p:sp>
      <p:sp>
        <p:nvSpPr>
          <p:cNvPr id="8" name="TextBox 7"/>
          <p:cNvSpPr txBox="1"/>
          <p:nvPr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85878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2012 </a:t>
            </a: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94109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57994" y="415429"/>
            <a:ext cx="8686006" cy="0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1035" y="170122"/>
            <a:ext cx="8205261" cy="24530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PCSC: FY14 Roadmap</a:t>
            </a:r>
            <a:endParaRPr lang="en-CA" dirty="0"/>
          </a:p>
        </p:txBody>
      </p:sp>
      <p:sp>
        <p:nvSpPr>
          <p:cNvPr id="8" name="TextBox 7"/>
          <p:cNvSpPr txBox="1"/>
          <p:nvPr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85878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2012 </a:t>
            </a: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94109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57994" y="415429"/>
            <a:ext cx="8686006" cy="0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1035" y="170122"/>
            <a:ext cx="8205261" cy="24530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PCSC: FY14 Roadmap</a:t>
            </a:r>
            <a:endParaRPr lang="en-CA" dirty="0"/>
          </a:p>
        </p:txBody>
      </p:sp>
      <p:sp>
        <p:nvSpPr>
          <p:cNvPr id="8" name="TextBox 7"/>
          <p:cNvSpPr txBox="1"/>
          <p:nvPr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85878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2012 </a:t>
            </a: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94109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57994" y="415429"/>
            <a:ext cx="8686006" cy="0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1035" y="170122"/>
            <a:ext cx="8205261" cy="24530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PCSC: FY14 Roadmap</a:t>
            </a:r>
            <a:endParaRPr lang="en-CA" dirty="0"/>
          </a:p>
        </p:txBody>
      </p:sp>
      <p:sp>
        <p:nvSpPr>
          <p:cNvPr id="8" name="TextBox 7"/>
          <p:cNvSpPr txBox="1"/>
          <p:nvPr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85878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2012 </a:t>
            </a: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94109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57994" y="415429"/>
            <a:ext cx="8686006" cy="0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1035" y="170122"/>
            <a:ext cx="8205261" cy="24530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PCSC: FY14 Roadmap</a:t>
            </a:r>
            <a:endParaRPr lang="en-CA" dirty="0"/>
          </a:p>
        </p:txBody>
      </p:sp>
      <p:sp>
        <p:nvSpPr>
          <p:cNvPr id="8" name="TextBox 7"/>
          <p:cNvSpPr txBox="1"/>
          <p:nvPr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85878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2012 </a:t>
            </a: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94109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57994" y="415429"/>
            <a:ext cx="8686006" cy="0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1035" y="170122"/>
            <a:ext cx="8205261" cy="24530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PCSC: FY14 Roadmap</a:t>
            </a:r>
            <a:endParaRPr lang="en-CA" dirty="0"/>
          </a:p>
        </p:txBody>
      </p:sp>
      <p:sp>
        <p:nvSpPr>
          <p:cNvPr id="8" name="TextBox 7"/>
          <p:cNvSpPr txBox="1"/>
          <p:nvPr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85878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2012 </a:t>
            </a: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94109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2014 </a:t>
            </a: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Accenture 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1035" y="279306"/>
            <a:ext cx="8205261" cy="785553"/>
          </a:xfrm>
        </p:spPr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67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5757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16" name="Picture 2" descr="\\JBWServer\Shared\Clients\Presentations\Accenture\Lynette Oelschig - 12-4142 - Cloud ppt templates and style guide\Working Files\Final Images\shutterstock_69707050.jpg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7" name="Group 16"/>
            <p:cNvGrpSpPr/>
            <p:nvPr/>
          </p:nvGrpSpPr>
          <p:grpSpPr>
            <a:xfrm>
              <a:off x="5633930" y="3542935"/>
              <a:ext cx="3074395" cy="2060440"/>
              <a:chOff x="5701703" y="682760"/>
              <a:chExt cx="3074395" cy="2060440"/>
            </a:xfrm>
          </p:grpSpPr>
          <p:sp>
            <p:nvSpPr>
              <p:cNvPr id="23" name="Freeform 22"/>
              <p:cNvSpPr/>
              <p:nvPr/>
            </p:nvSpPr>
            <p:spPr>
              <a:xfrm>
                <a:off x="6164291" y="682760"/>
                <a:ext cx="2013677" cy="2060440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30" name="Picture 29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01703" y="1523009"/>
                <a:ext cx="3074395" cy="252000"/>
              </a:xfrm>
              <a:prstGeom prst="rect">
                <a:avLst/>
              </a:prstGeom>
            </p:spPr>
          </p:pic>
        </p:grpSp>
        <p:grpSp>
          <p:nvGrpSpPr>
            <p:cNvPr id="18" name="Group 17"/>
            <p:cNvGrpSpPr/>
            <p:nvPr/>
          </p:nvGrpSpPr>
          <p:grpSpPr>
            <a:xfrm>
              <a:off x="494508" y="5754163"/>
              <a:ext cx="2183719" cy="635721"/>
              <a:chOff x="448031" y="5788818"/>
              <a:chExt cx="2183719" cy="635721"/>
            </a:xfrm>
          </p:grpSpPr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8031" y="6039743"/>
                <a:ext cx="2183719" cy="384796"/>
              </a:xfrm>
              <a:prstGeom prst="rect">
                <a:avLst/>
              </a:prstGeom>
            </p:spPr>
          </p:pic>
          <p:sp>
            <p:nvSpPr>
              <p:cNvPr id="22" name="Freeform 21"/>
              <p:cNvSpPr/>
              <p:nvPr/>
            </p:nvSpPr>
            <p:spPr>
              <a:xfrm>
                <a:off x="1730496" y="5788818"/>
                <a:ext cx="210221" cy="215102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</p:grpSp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07288" y="6253605"/>
              <a:ext cx="2528887" cy="171805"/>
            </a:xfrm>
            <a:prstGeom prst="rect">
              <a:avLst/>
            </a:prstGeom>
          </p:spPr>
        </p:pic>
        <p:cxnSp>
          <p:nvCxnSpPr>
            <p:cNvPr id="20" name="Straight Connector 9"/>
            <p:cNvCxnSpPr>
              <a:cxnSpLocks noChangeShapeType="1"/>
            </p:cNvCxnSpPr>
            <p:nvPr/>
          </p:nvCxnSpPr>
          <p:spPr bwMode="auto">
            <a:xfrm>
              <a:off x="496800" y="6550025"/>
              <a:ext cx="8647200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/>
              <a:tailEnd/>
            </a:ln>
          </p:spPr>
        </p:cxn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5304" y="603250"/>
            <a:ext cx="8140875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defRPr lang="en-GB" sz="3600" b="0" dirty="0">
                <a:solidFill>
                  <a:schemeClr val="accent4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0"/>
          </p:nvPr>
        </p:nvSpPr>
        <p:spPr>
          <a:xfrm>
            <a:off x="495303" y="1673976"/>
            <a:ext cx="8140875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accent4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7544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/>
          <a:p>
            <a:r>
              <a:rPr lang="en-GB" dirty="0" smtClean="0">
                <a:solidFill>
                  <a:srgbClr val="666666"/>
                </a:solidFill>
              </a:rPr>
              <a:t>Copyright © 2015 Accenture  All rights reserved.</a:t>
            </a:r>
            <a:endParaRPr lang="en-GB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94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  <p:sp>
        <p:nvSpPr>
          <p:cNvPr id="9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38179" y="434029"/>
            <a:ext cx="7934662" cy="51348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lang="en-GB"/>
            </a:lvl1pPr>
          </a:lstStyle>
          <a:p>
            <a:pPr lvl="0"/>
            <a:r>
              <a:rPr lang="en-US" dirty="0" smtClean="0"/>
              <a:t>Title</a:t>
            </a:r>
            <a:endParaRPr lang="en-GB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/>
          <a:p>
            <a:r>
              <a:rPr lang="en-GB" dirty="0" smtClean="0">
                <a:solidFill>
                  <a:srgbClr val="666666"/>
                </a:solidFill>
              </a:rPr>
              <a:t>Copyright © 2015 Accenture  All rights reserved.</a:t>
            </a:r>
            <a:endParaRPr lang="en-GB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929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9144000" cy="6857999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solidFill>
                <a:srgbClr val="000000"/>
              </a:solidFill>
              <a:latin typeface="Agfa Rotis Sans Serif" pitchFamily="2" charset="0"/>
            </a:endParaRPr>
          </a:p>
        </p:txBody>
      </p:sp>
      <p:pic>
        <p:nvPicPr>
          <p:cNvPr id="1027" name="Picture 3" descr="S:\T-Mark\Accenture\2012-2079-Accenture Way\buildfiles\templates\TheAccentureWay_V3-2012-04-13.e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36" y="1001064"/>
            <a:ext cx="4718026" cy="3594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cc_Sig_white_YellowOrange_rgb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492125" y="309090"/>
            <a:ext cx="2427544" cy="694944"/>
          </a:xfrm>
          <a:prstGeom prst="rect">
            <a:avLst/>
          </a:prstGeom>
        </p:spPr>
      </p:pic>
      <p:pic>
        <p:nvPicPr>
          <p:cNvPr id="7" name="Picture 6" descr="Acc_StrategyLine_English_wht_RGB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5652887" y="812800"/>
            <a:ext cx="3200423" cy="225848"/>
          </a:xfrm>
          <a:prstGeom prst="rect">
            <a:avLst/>
          </a:prstGeom>
        </p:spPr>
      </p:pic>
      <p:cxnSp>
        <p:nvCxnSpPr>
          <p:cNvPr id="8" name="Straight Connector 9"/>
          <p:cNvCxnSpPr>
            <a:cxnSpLocks noChangeShapeType="1"/>
          </p:cNvCxnSpPr>
          <p:nvPr userDrawn="1"/>
        </p:nvCxnSpPr>
        <p:spPr bwMode="auto">
          <a:xfrm>
            <a:off x="492125" y="1143000"/>
            <a:ext cx="8651875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</p:spPr>
      </p:cxnSp>
      <p:pic>
        <p:nvPicPr>
          <p:cNvPr id="5" name="Picture 4" descr="Accenture_Way_Text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125" y="4519180"/>
            <a:ext cx="5841999" cy="642105"/>
          </a:xfrm>
          <a:prstGeom prst="rect">
            <a:avLst/>
          </a:prstGeom>
        </p:spPr>
      </p:pic>
      <p:sp>
        <p:nvSpPr>
          <p:cNvPr id="13" name="Rectangle 60"/>
          <p:cNvSpPr>
            <a:spLocks noGrp="1" noChangeArrowheads="1"/>
          </p:cNvSpPr>
          <p:nvPr>
            <p:ph type="ctrTitle" sz="quarter"/>
          </p:nvPr>
        </p:nvSpPr>
        <p:spPr>
          <a:xfrm>
            <a:off x="402169" y="5501892"/>
            <a:ext cx="8247062" cy="540635"/>
          </a:xfrm>
          <a:ln w="9525"/>
        </p:spPr>
        <p:txBody>
          <a:bodyPr lIns="91440" tIns="45720" rIns="91440" bIns="45720" anchor="t"/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  <p:sp>
        <p:nvSpPr>
          <p:cNvPr id="14" name="Rectangle 61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02169" y="6047316"/>
            <a:ext cx="6216650" cy="460375"/>
          </a:xfrm>
          <a:prstGeom prst="rect">
            <a:avLst/>
          </a:prstGeom>
          <a:ln w="9525"/>
        </p:spPr>
        <p:txBody>
          <a:bodyPr lIns="91440" tIns="45720" rIns="91440" bIns="45720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</a:t>
            </a:r>
            <a:r>
              <a:rPr lang="en-US" dirty="0" smtClean="0"/>
              <a:t>style</a:t>
            </a:r>
            <a:endParaRPr lang="en-US" dirty="0"/>
          </a:p>
        </p:txBody>
      </p:sp>
      <p:sp>
        <p:nvSpPr>
          <p:cNvPr id="10" name="AMC_Footer"/>
          <p:cNvSpPr txBox="1">
            <a:spLocks/>
          </p:cNvSpPr>
          <p:nvPr userDrawn="1"/>
        </p:nvSpPr>
        <p:spPr>
          <a:xfrm>
            <a:off x="250824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1000" dirty="0" smtClean="0">
                <a:solidFill>
                  <a:prstClr val="white"/>
                </a:solidFill>
                <a:latin typeface="Agfa Rotis Sans Serif" pitchFamily="2" charset="0"/>
                <a:cs typeface="Arial" pitchFamily="34" charset="0"/>
              </a:rPr>
              <a:t>Copyright © 2015 Accenture. All rights reserved.</a:t>
            </a:r>
            <a:endParaRPr lang="de-DE" sz="1000" dirty="0">
              <a:solidFill>
                <a:prstClr val="white"/>
              </a:solidFill>
              <a:latin typeface="Agfa Rotis Sans Serif" pitchFamily="2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6559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Content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389" y="1268900"/>
            <a:ext cx="8242897" cy="51794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164388" y="6511925"/>
            <a:ext cx="1693862" cy="269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D37E39-A015-44ED-A035-8E8A25AABC1B}" type="slidenum">
              <a:rPr lang="en-US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666666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486888" y="128588"/>
            <a:ext cx="8290400" cy="8359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dirty="0" smtClean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404813" y="6535738"/>
            <a:ext cx="303903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en-US" sz="1000" dirty="0" smtClean="0">
                <a:solidFill>
                  <a:srgbClr val="FFFFFF">
                    <a:lumMod val="10000"/>
                  </a:srgbClr>
                </a:solidFill>
              </a:rPr>
              <a:t>Copyright © 2015 Accenture All Rights Reserved.</a:t>
            </a:r>
            <a:endParaRPr lang="en-US" sz="1000" dirty="0">
              <a:solidFill>
                <a:srgbClr val="FFFFFF">
                  <a:lumMod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2914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7F7F7F"/>
                </a:solidFill>
                <a:cs typeface="Arial" pitchFamily="34" charset="0"/>
              </a:rPr>
              <a:t>2015 </a:t>
            </a: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Accenture 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7879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"/>
          <p:cNvSpPr/>
          <p:nvPr userDrawn="1"/>
        </p:nvSpPr>
        <p:spPr bwMode="auto">
          <a:xfrm>
            <a:off x="0" y="0"/>
            <a:ext cx="9143999" cy="6858000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lnSpc>
                <a:spcPct val="80000"/>
              </a:lnSpc>
            </a:pPr>
            <a:endParaRPr lang="en-US" dirty="0">
              <a:solidFill>
                <a:srgbClr val="000000"/>
              </a:solidFill>
              <a:latin typeface="Agfa Rotis Sans Serif" pitchFamily="2" charset="0"/>
              <a:cs typeface="Arial" charset="0"/>
            </a:endParaRPr>
          </a:p>
        </p:txBody>
      </p:sp>
      <p:pic>
        <p:nvPicPr>
          <p:cNvPr id="12" name="Picture 3" descr="S:\T-Mark\Accenture\2012-2079-Accenture Way\buildfiles\templates\TheAccentureWay_V3-2012-04-13.emf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7688" y="310108"/>
            <a:ext cx="5328851" cy="4060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250825" y="3761297"/>
            <a:ext cx="8642350" cy="1323975"/>
          </a:xfrm>
        </p:spPr>
        <p:txBody>
          <a:bodyPr wrap="square" lIns="0" tIns="44450" rIns="0" bIns="44450" anchor="b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4000" b="1" i="0">
                <a:solidFill>
                  <a:schemeClr val="bg1"/>
                </a:solidFill>
                <a:latin typeface="Agfa Rotis Sans Serif" pitchFamily="2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9" name="AMC_Footer"/>
          <p:cNvSpPr txBox="1">
            <a:spLocks/>
          </p:cNvSpPr>
          <p:nvPr userDrawn="1"/>
        </p:nvSpPr>
        <p:spPr>
          <a:xfrm>
            <a:off x="250824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1000" dirty="0" smtClean="0">
                <a:solidFill>
                  <a:prstClr val="white"/>
                </a:solidFill>
                <a:latin typeface="Agfa Rotis Sans Serif" pitchFamily="2" charset="0"/>
                <a:cs typeface="Arial" pitchFamily="34" charset="0"/>
              </a:rPr>
              <a:t>Copyright © 2015 Accenture. All rights reserved.</a:t>
            </a:r>
            <a:endParaRPr lang="de-DE" sz="1000" dirty="0">
              <a:solidFill>
                <a:prstClr val="white"/>
              </a:solidFill>
              <a:latin typeface="Agfa Rotis Sans Serif" pitchFamily="2" charset="0"/>
              <a:cs typeface="Arial" pitchFamily="34" charset="0"/>
            </a:endParaRPr>
          </a:p>
        </p:txBody>
      </p:sp>
      <p:sp>
        <p:nvSpPr>
          <p:cNvPr id="20" name="Inhaltsplatzhalter 13"/>
          <p:cNvSpPr txBox="1">
            <a:spLocks/>
          </p:cNvSpPr>
          <p:nvPr userDrawn="1"/>
        </p:nvSpPr>
        <p:spPr>
          <a:xfrm>
            <a:off x="8496436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white"/>
                </a:solidFill>
                <a:latin typeface="Agfa Rotis Sans Serif" pitchFamily="2" charset="0"/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prstClr val="white"/>
              </a:solidFill>
              <a:latin typeface="Agfa Rotis Sans Serif" pitchFamily="2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4209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96800" y="1166781"/>
            <a:ext cx="8151900" cy="39654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96800" y="1563329"/>
            <a:ext cx="8151900" cy="4826359"/>
          </a:xfrm>
        </p:spPr>
        <p:txBody>
          <a:bodyPr/>
          <a:lstStyle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FE1AAC3-A965-44A3-AD06-EA035165D72C}" type="slidenum">
              <a:rPr lang="en-GB" smtClean="0">
                <a:solidFill>
                  <a:srgbClr val="666666"/>
                </a:solidFill>
              </a:rPr>
              <a:pPr/>
              <a:t>‹#›</a:t>
            </a:fld>
            <a:endParaRPr lang="en-GB" dirty="0">
              <a:solidFill>
                <a:srgbClr val="666666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7F7F7F"/>
                </a:solidFill>
                <a:cs typeface="Arial" pitchFamily="34" charset="0"/>
              </a:rPr>
              <a:t>2015 </a:t>
            </a: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974264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E1AAC3-A965-44A3-AD06-EA035165D72C}" type="slidenum">
              <a:rPr lang="en-GB" smtClean="0">
                <a:solidFill>
                  <a:srgbClr val="666666"/>
                </a:solidFill>
              </a:rPr>
              <a:pPr/>
              <a:t>‹#›</a:t>
            </a:fld>
            <a:endParaRPr lang="en-GB" dirty="0">
              <a:solidFill>
                <a:srgbClr val="666666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/>
          <a:p>
            <a:r>
              <a:rPr lang="en-GB" dirty="0" smtClean="0">
                <a:solidFill>
                  <a:srgbClr val="666666"/>
                </a:solidFill>
              </a:rPr>
              <a:t>Copyright © 2015 Accenture  All rights reserved.</a:t>
            </a:r>
            <a:endParaRPr lang="en-GB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7988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7F7F7F"/>
                </a:solidFill>
                <a:cs typeface="Arial" pitchFamily="34" charset="0"/>
              </a:rPr>
              <a:t>2015 </a:t>
            </a: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Accenture 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Master 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545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5" name="Picture 2" descr="\\JBWServer\Shared\Clients\Presentations\Accenture\Lynette Oelschig - 12-4142 - Cloud ppt templates and style guide\Working Files\Final Images\160375114.jpg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/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" name="Group 5"/>
            <p:cNvGrpSpPr/>
            <p:nvPr/>
          </p:nvGrpSpPr>
          <p:grpSpPr>
            <a:xfrm>
              <a:off x="5633930" y="3333265"/>
              <a:ext cx="3074395" cy="2060440"/>
              <a:chOff x="5701703" y="682760"/>
              <a:chExt cx="3074395" cy="2060440"/>
            </a:xfrm>
          </p:grpSpPr>
          <p:sp>
            <p:nvSpPr>
              <p:cNvPr id="12" name="Freeform 11"/>
              <p:cNvSpPr/>
              <p:nvPr/>
            </p:nvSpPr>
            <p:spPr>
              <a:xfrm>
                <a:off x="6164291" y="682760"/>
                <a:ext cx="2013677" cy="2060440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01703" y="1523009"/>
                <a:ext cx="3074395" cy="252000"/>
              </a:xfrm>
              <a:prstGeom prst="rect">
                <a:avLst/>
              </a:prstGeom>
            </p:spPr>
          </p:pic>
        </p:grpSp>
        <p:grpSp>
          <p:nvGrpSpPr>
            <p:cNvPr id="7" name="Group 6"/>
            <p:cNvGrpSpPr/>
            <p:nvPr/>
          </p:nvGrpSpPr>
          <p:grpSpPr>
            <a:xfrm>
              <a:off x="494508" y="5754163"/>
              <a:ext cx="2183719" cy="635721"/>
              <a:chOff x="448031" y="5788818"/>
              <a:chExt cx="2183719" cy="635721"/>
            </a:xfrm>
          </p:grpSpPr>
          <p:pic>
            <p:nvPicPr>
              <p:cNvPr id="10" name="Picture 9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8031" y="6039743"/>
                <a:ext cx="2183719" cy="384796"/>
              </a:xfrm>
              <a:prstGeom prst="rect">
                <a:avLst/>
              </a:prstGeom>
            </p:spPr>
          </p:pic>
          <p:sp>
            <p:nvSpPr>
              <p:cNvPr id="11" name="Freeform 10"/>
              <p:cNvSpPr/>
              <p:nvPr/>
            </p:nvSpPr>
            <p:spPr>
              <a:xfrm>
                <a:off x="1730496" y="5788818"/>
                <a:ext cx="210221" cy="215102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</p:grp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07288" y="6253605"/>
              <a:ext cx="2528887" cy="171805"/>
            </a:xfrm>
            <a:prstGeom prst="rect">
              <a:avLst/>
            </a:prstGeom>
          </p:spPr>
        </p:pic>
        <p:cxnSp>
          <p:nvCxnSpPr>
            <p:cNvPr id="9" name="Straight Connector 9"/>
            <p:cNvCxnSpPr>
              <a:cxnSpLocks noChangeShapeType="1"/>
            </p:cNvCxnSpPr>
            <p:nvPr/>
          </p:nvCxnSpPr>
          <p:spPr bwMode="auto">
            <a:xfrm>
              <a:off x="496800" y="6550025"/>
              <a:ext cx="8647200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/>
              <a:tailEnd/>
            </a:ln>
          </p:spPr>
        </p:cxn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5304" y="475762"/>
            <a:ext cx="8140875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0"/>
          </p:nvPr>
        </p:nvSpPr>
        <p:spPr>
          <a:xfrm>
            <a:off x="495303" y="1546488"/>
            <a:ext cx="8140875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accent4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8439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5" name="Picture 2" descr="\\JBWServer\Shared\Clients\Presentations\Accenture\Lynette Oelschig - 12-4142 - Cloud ppt templates and style guide\Working Files\Final Images\160421532.jpg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/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" name="Group 5"/>
            <p:cNvGrpSpPr/>
            <p:nvPr/>
          </p:nvGrpSpPr>
          <p:grpSpPr>
            <a:xfrm>
              <a:off x="5633930" y="2538851"/>
              <a:ext cx="3074395" cy="2060440"/>
              <a:chOff x="5701703" y="682760"/>
              <a:chExt cx="3074395" cy="2060440"/>
            </a:xfrm>
          </p:grpSpPr>
          <p:sp>
            <p:nvSpPr>
              <p:cNvPr id="12" name="Freeform 11"/>
              <p:cNvSpPr/>
              <p:nvPr/>
            </p:nvSpPr>
            <p:spPr>
              <a:xfrm>
                <a:off x="6164291" y="682760"/>
                <a:ext cx="2013677" cy="2060440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01703" y="1523009"/>
                <a:ext cx="3074395" cy="252000"/>
              </a:xfrm>
              <a:prstGeom prst="rect">
                <a:avLst/>
              </a:prstGeom>
            </p:spPr>
          </p:pic>
        </p:grpSp>
        <p:grpSp>
          <p:nvGrpSpPr>
            <p:cNvPr id="7" name="Group 6"/>
            <p:cNvGrpSpPr/>
            <p:nvPr/>
          </p:nvGrpSpPr>
          <p:grpSpPr>
            <a:xfrm>
              <a:off x="494508" y="5754163"/>
              <a:ext cx="2183719" cy="635721"/>
              <a:chOff x="448031" y="5788818"/>
              <a:chExt cx="2183719" cy="635721"/>
            </a:xfrm>
          </p:grpSpPr>
          <p:pic>
            <p:nvPicPr>
              <p:cNvPr id="10" name="Picture 9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8031" y="6039743"/>
                <a:ext cx="2183719" cy="384796"/>
              </a:xfrm>
              <a:prstGeom prst="rect">
                <a:avLst/>
              </a:prstGeom>
            </p:spPr>
          </p:pic>
          <p:sp>
            <p:nvSpPr>
              <p:cNvPr id="11" name="Freeform 10"/>
              <p:cNvSpPr/>
              <p:nvPr/>
            </p:nvSpPr>
            <p:spPr>
              <a:xfrm>
                <a:off x="1730496" y="5788818"/>
                <a:ext cx="210221" cy="215102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</p:grp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07288" y="6253605"/>
              <a:ext cx="2528887" cy="171805"/>
            </a:xfrm>
            <a:prstGeom prst="rect">
              <a:avLst/>
            </a:prstGeom>
          </p:spPr>
        </p:pic>
        <p:cxnSp>
          <p:nvCxnSpPr>
            <p:cNvPr id="9" name="Straight Connector 9"/>
            <p:cNvCxnSpPr>
              <a:cxnSpLocks noChangeShapeType="1"/>
            </p:cNvCxnSpPr>
            <p:nvPr/>
          </p:nvCxnSpPr>
          <p:spPr bwMode="auto">
            <a:xfrm>
              <a:off x="496800" y="6550025"/>
              <a:ext cx="8647200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/>
              <a:tailEnd/>
            </a:ln>
          </p:spPr>
        </p:cxn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5304" y="317500"/>
            <a:ext cx="8140875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0"/>
          </p:nvPr>
        </p:nvSpPr>
        <p:spPr>
          <a:xfrm>
            <a:off x="495303" y="1388226"/>
            <a:ext cx="8140875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bg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0706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5" name="Picture 2" descr="\\JBWServer\Shared\Clients\Presentations\Accenture\Lynette Oelschig - 12-4142 - Cloud ppt templates and style guide\Working Files\Final Images\99760752.jpg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4" descr="\\JBWServer\Shared\transit\_To_Tim\white blur 1.pn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 bwMode="auto">
            <a:xfrm>
              <a:off x="0" y="0"/>
              <a:ext cx="4273984" cy="29473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7" name="Straight Connector 9"/>
            <p:cNvCxnSpPr>
              <a:cxnSpLocks noChangeShapeType="1"/>
            </p:cNvCxnSpPr>
            <p:nvPr/>
          </p:nvCxnSpPr>
          <p:spPr bwMode="auto">
            <a:xfrm>
              <a:off x="496888" y="1102300"/>
              <a:ext cx="864711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</p:cxn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07288" y="797819"/>
              <a:ext cx="2528887" cy="175897"/>
            </a:xfrm>
            <a:prstGeom prst="rect">
              <a:avLst/>
            </a:prstGeom>
          </p:spPr>
        </p:pic>
        <p:grpSp>
          <p:nvGrpSpPr>
            <p:cNvPr id="9" name="Group 8"/>
            <p:cNvGrpSpPr/>
            <p:nvPr/>
          </p:nvGrpSpPr>
          <p:grpSpPr>
            <a:xfrm>
              <a:off x="5633931" y="2236445"/>
              <a:ext cx="3074395" cy="2060440"/>
              <a:chOff x="5701703" y="682760"/>
              <a:chExt cx="3074395" cy="2060440"/>
            </a:xfrm>
          </p:grpSpPr>
          <p:sp>
            <p:nvSpPr>
              <p:cNvPr id="13" name="Freeform 12"/>
              <p:cNvSpPr/>
              <p:nvPr/>
            </p:nvSpPr>
            <p:spPr>
              <a:xfrm>
                <a:off x="6164291" y="682760"/>
                <a:ext cx="2013677" cy="2060440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01703" y="1523009"/>
                <a:ext cx="3074395" cy="251999"/>
              </a:xfrm>
              <a:prstGeom prst="rect">
                <a:avLst/>
              </a:prstGeom>
            </p:spPr>
          </p:pic>
        </p:grpSp>
        <p:grpSp>
          <p:nvGrpSpPr>
            <p:cNvPr id="10" name="Group 9"/>
            <p:cNvGrpSpPr/>
            <p:nvPr/>
          </p:nvGrpSpPr>
          <p:grpSpPr>
            <a:xfrm>
              <a:off x="495299" y="312167"/>
              <a:ext cx="2183716" cy="635721"/>
              <a:chOff x="459321" y="5788818"/>
              <a:chExt cx="2183716" cy="635721"/>
            </a:xfrm>
          </p:grpSpPr>
          <p:pic>
            <p:nvPicPr>
              <p:cNvPr id="11" name="Picture 10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9321" y="6039743"/>
                <a:ext cx="2183716" cy="384796"/>
              </a:xfrm>
              <a:prstGeom prst="rect">
                <a:avLst/>
              </a:prstGeom>
            </p:spPr>
          </p:pic>
          <p:sp>
            <p:nvSpPr>
              <p:cNvPr id="12" name="Freeform 11"/>
              <p:cNvSpPr/>
              <p:nvPr/>
            </p:nvSpPr>
            <p:spPr>
              <a:xfrm>
                <a:off x="1741785" y="5788818"/>
                <a:ext cx="210221" cy="215102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95" y="1471441"/>
            <a:ext cx="4019547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0"/>
          </p:nvPr>
        </p:nvSpPr>
        <p:spPr>
          <a:xfrm>
            <a:off x="496889" y="2542167"/>
            <a:ext cx="4831856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tx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8000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5" name="Picture 2" descr="\\JBWServer\Shared\Clients\Presentations\Accenture\Lynette Oelschig - 12-4142 - Cloud ppt templates and style guide\Working Files\Final Images\127033920.jpg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" name="Straight Connector 9"/>
            <p:cNvCxnSpPr>
              <a:cxnSpLocks noChangeShapeType="1"/>
            </p:cNvCxnSpPr>
            <p:nvPr/>
          </p:nvCxnSpPr>
          <p:spPr bwMode="auto">
            <a:xfrm>
              <a:off x="496800" y="6550025"/>
              <a:ext cx="864720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</p:cxn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07288" y="6251894"/>
              <a:ext cx="2528887" cy="175897"/>
            </a:xfrm>
            <a:prstGeom prst="rect">
              <a:avLst/>
            </a:prstGeom>
          </p:spPr>
        </p:pic>
        <p:grpSp>
          <p:nvGrpSpPr>
            <p:cNvPr id="8" name="Group 7"/>
            <p:cNvGrpSpPr/>
            <p:nvPr/>
          </p:nvGrpSpPr>
          <p:grpSpPr>
            <a:xfrm>
              <a:off x="5633931" y="1834849"/>
              <a:ext cx="3074395" cy="2060440"/>
              <a:chOff x="5701703" y="682760"/>
              <a:chExt cx="3074395" cy="2060440"/>
            </a:xfrm>
          </p:grpSpPr>
          <p:sp>
            <p:nvSpPr>
              <p:cNvPr id="12" name="Freeform 11"/>
              <p:cNvSpPr/>
              <p:nvPr/>
            </p:nvSpPr>
            <p:spPr>
              <a:xfrm>
                <a:off x="6164291" y="682760"/>
                <a:ext cx="2013677" cy="2060440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01703" y="1523009"/>
                <a:ext cx="3074395" cy="251999"/>
              </a:xfrm>
              <a:prstGeom prst="rect">
                <a:avLst/>
              </a:prstGeom>
            </p:spPr>
          </p:pic>
        </p:grpSp>
        <p:grpSp>
          <p:nvGrpSpPr>
            <p:cNvPr id="9" name="Group 8"/>
            <p:cNvGrpSpPr/>
            <p:nvPr/>
          </p:nvGrpSpPr>
          <p:grpSpPr>
            <a:xfrm>
              <a:off x="495299" y="5753967"/>
              <a:ext cx="2183716" cy="635721"/>
              <a:chOff x="459321" y="5788818"/>
              <a:chExt cx="2183716" cy="635721"/>
            </a:xfrm>
          </p:grpSpPr>
          <p:pic>
            <p:nvPicPr>
              <p:cNvPr id="10" name="Picture 9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9321" y="6039743"/>
                <a:ext cx="2183716" cy="384796"/>
              </a:xfrm>
              <a:prstGeom prst="rect">
                <a:avLst/>
              </a:prstGeom>
            </p:spPr>
          </p:pic>
          <p:sp>
            <p:nvSpPr>
              <p:cNvPr id="11" name="Freeform 10"/>
              <p:cNvSpPr/>
              <p:nvPr/>
            </p:nvSpPr>
            <p:spPr>
              <a:xfrm>
                <a:off x="1741785" y="5788818"/>
                <a:ext cx="210221" cy="215102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5305" y="912030"/>
            <a:ext cx="4473743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0"/>
          </p:nvPr>
        </p:nvSpPr>
        <p:spPr>
          <a:xfrm>
            <a:off x="495304" y="1982756"/>
            <a:ext cx="4473743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tx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7597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5" Type="http://schemas.openxmlformats.org/officeDocument/2006/relationships/slideLayout" Target="../slideLayouts/slideLayout5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888" y="1172569"/>
            <a:ext cx="8151812" cy="5217120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6800" y="5"/>
            <a:ext cx="8151900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7164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cxnSp>
        <p:nvCxnSpPr>
          <p:cNvPr id="7" name="Straight Connector 9"/>
          <p:cNvCxnSpPr>
            <a:cxnSpLocks noChangeShapeType="1"/>
          </p:cNvCxnSpPr>
          <p:nvPr/>
        </p:nvCxnSpPr>
        <p:spPr bwMode="auto">
          <a:xfrm>
            <a:off x="496888" y="1102300"/>
            <a:ext cx="8645612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</p:spPr>
      </p:cxn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96800" y="6546849"/>
            <a:ext cx="2895600" cy="157164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9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8" name="Picture 2" descr="C:\Users\mark.rendell\AppData\Local\Microsoft\Windows\Temporary Internet Files\Content.Outlook\Q4DNG7M0\new-devops.png"/>
          <p:cNvPicPr>
            <a:picLocks noChangeAspect="1" noChangeArrowheads="1"/>
          </p:cNvPicPr>
          <p:nvPr userDrawn="1"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3167" y="0"/>
            <a:ext cx="1740833" cy="548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71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8" r:id="rId9"/>
    <p:sldLayoutId id="2147483669" r:id="rId10"/>
    <p:sldLayoutId id="2147483670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2300" kern="1200" spc="0" baseline="0" dirty="0" smtClean="0">
          <a:solidFill>
            <a:schemeClr val="tx1"/>
          </a:solidFill>
          <a:latin typeface="+mj-lt"/>
          <a:ea typeface="Arial" pitchFamily="-105" charset="-52"/>
          <a:cs typeface="Arial" pitchFamily="34" charset="0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76213" indent="-1762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1pPr>
      <a:lvl2pPr marL="361950" indent="-185738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2pPr>
      <a:lvl3pPr marL="538163" indent="-1762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3pPr>
      <a:lvl4pPr marL="715963" indent="-17780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4pPr>
      <a:lvl5pPr marL="900113" indent="-18415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888" y="1172569"/>
            <a:ext cx="8151812" cy="5217120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6800" y="5"/>
            <a:ext cx="8151900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7164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666666"/>
              </a:solidFill>
              <a:cs typeface="Arial" charset="0"/>
            </a:endParaRPr>
          </a:p>
        </p:txBody>
      </p:sp>
      <p:cxnSp>
        <p:nvCxnSpPr>
          <p:cNvPr id="7" name="Straight Connector 9"/>
          <p:cNvCxnSpPr>
            <a:cxnSpLocks noChangeShapeType="1"/>
          </p:cNvCxnSpPr>
          <p:nvPr/>
        </p:nvCxnSpPr>
        <p:spPr bwMode="auto">
          <a:xfrm>
            <a:off x="496888" y="1102300"/>
            <a:ext cx="8645612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</p:spPr>
      </p:cxn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96800" y="6546849"/>
            <a:ext cx="2895600" cy="157164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900">
                <a:solidFill>
                  <a:schemeClr val="tx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666666"/>
                </a:solidFill>
                <a:cs typeface="Arial" charset="0"/>
              </a:rPr>
              <a:t>Copyright © 2015 Accenture  All rights reserved.</a:t>
            </a:r>
            <a:endParaRPr lang="en-GB" dirty="0">
              <a:solidFill>
                <a:srgbClr val="666666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018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2300" kern="1200" spc="0" baseline="0" dirty="0" smtClean="0">
          <a:solidFill>
            <a:schemeClr val="tx1"/>
          </a:solidFill>
          <a:latin typeface="+mj-lt"/>
          <a:ea typeface="Arial" pitchFamily="-105" charset="-52"/>
          <a:cs typeface="Arial" pitchFamily="34" charset="0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76213" indent="-1762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1pPr>
      <a:lvl2pPr marL="361950" indent="-185738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2pPr>
      <a:lvl3pPr marL="538163" indent="-1762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3pPr>
      <a:lvl4pPr marL="715963" indent="-17780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4pPr>
      <a:lvl5pPr marL="900113" indent="-18415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vimeo.com/channels/pipelineconf/123616200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4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o.accenture.com/devopscasestudies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youtube.com/watch?v=c01BaogQCxA" TargetMode="External"/><Relationship Id="rId5" Type="http://schemas.openxmlformats.org/officeDocument/2006/relationships/hyperlink" Target="http://accenture.com/devops" TargetMode="External"/><Relationship Id="rId4" Type="http://schemas.openxmlformats.org/officeDocument/2006/relationships/hyperlink" Target="https://go.accenture.com/devopscertification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4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0.xml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4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mediaexchange.accenture.com/media/t/1_kz34icui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6892" y="1599032"/>
            <a:ext cx="4939204" cy="996950"/>
          </a:xfrm>
        </p:spPr>
        <p:txBody>
          <a:bodyPr/>
          <a:lstStyle/>
          <a:p>
            <a:r>
              <a:rPr lang="en-GB" dirty="0" smtClean="0"/>
              <a:t>Closing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6815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960" y="0"/>
            <a:ext cx="10068417" cy="1002979"/>
          </a:xfrm>
        </p:spPr>
        <p:txBody>
          <a:bodyPr/>
          <a:lstStyle/>
          <a:p>
            <a:r>
              <a:rPr lang="en-GB" dirty="0" smtClean="0"/>
              <a:t>Fearless change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480960" y="1192813"/>
            <a:ext cx="81677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hlinkClick r:id="rId3"/>
              </a:rPr>
              <a:t>https://</a:t>
            </a:r>
            <a:r>
              <a:rPr lang="en-GB" dirty="0" smtClean="0">
                <a:hlinkClick r:id="rId3"/>
              </a:rPr>
              <a:t>vimeo.com/channels/pipelineconf/123616200</a:t>
            </a:r>
            <a:endParaRPr lang="en-GB" dirty="0" smtClean="0"/>
          </a:p>
          <a:p>
            <a:endParaRPr lang="en-GB" dirty="0"/>
          </a:p>
        </p:txBody>
      </p:sp>
      <p:pic>
        <p:nvPicPr>
          <p:cNvPr id="11266" name="Picture 2" descr="https://d.gr-assets.com/books/1347579006l/261666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61944" y="1791018"/>
            <a:ext cx="3405772" cy="5102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0948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Some option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GB" dirty="0" smtClean="0"/>
          </a:p>
          <a:p>
            <a:r>
              <a:rPr lang="en-GB" dirty="0" smtClean="0"/>
              <a:t>Case </a:t>
            </a:r>
            <a:r>
              <a:rPr lang="en-GB" dirty="0"/>
              <a:t>Studies 	</a:t>
            </a:r>
            <a:r>
              <a:rPr lang="en-GB" dirty="0" smtClean="0">
                <a:hlinkClick r:id="rId3"/>
              </a:rPr>
              <a:t>https</a:t>
            </a:r>
            <a:r>
              <a:rPr lang="en-GB" dirty="0">
                <a:hlinkClick r:id="rId3"/>
              </a:rPr>
              <a:t>://</a:t>
            </a:r>
            <a:r>
              <a:rPr lang="en-GB" dirty="0" smtClean="0">
                <a:hlinkClick r:id="rId3"/>
              </a:rPr>
              <a:t>go.accenture.com/devopscasestudies</a:t>
            </a:r>
            <a:r>
              <a:rPr lang="en-GB" dirty="0" smtClean="0"/>
              <a:t> 	</a:t>
            </a:r>
          </a:p>
          <a:p>
            <a:endParaRPr lang="en-GB" dirty="0"/>
          </a:p>
          <a:p>
            <a:r>
              <a:rPr lang="en-GB" dirty="0" smtClean="0"/>
              <a:t>Certification	</a:t>
            </a:r>
            <a:r>
              <a:rPr lang="en-GB" dirty="0">
                <a:hlinkClick r:id="rId4"/>
              </a:rPr>
              <a:t>https</a:t>
            </a:r>
            <a:r>
              <a:rPr lang="en-GB" dirty="0" smtClean="0">
                <a:hlinkClick r:id="rId4"/>
              </a:rPr>
              <a:t>://go.accenture.com/devopscertification</a:t>
            </a:r>
            <a:r>
              <a:rPr lang="en-GB" dirty="0" smtClean="0"/>
              <a:t> </a:t>
            </a:r>
          </a:p>
          <a:p>
            <a:endParaRPr lang="en-GB" dirty="0"/>
          </a:p>
          <a:p>
            <a:r>
              <a:rPr lang="en-GB" dirty="0" smtClean="0"/>
              <a:t>Offering Public page</a:t>
            </a:r>
            <a:r>
              <a:rPr lang="en-GB" dirty="0"/>
              <a:t>	 </a:t>
            </a:r>
            <a:r>
              <a:rPr lang="en-GB" dirty="0" smtClean="0">
                <a:hlinkClick r:id="rId5"/>
              </a:rPr>
              <a:t>http://accenture.com/devops</a:t>
            </a:r>
            <a:r>
              <a:rPr lang="en-GB" dirty="0" smtClean="0"/>
              <a:t> </a:t>
            </a:r>
          </a:p>
          <a:p>
            <a:endParaRPr lang="en-GB" dirty="0"/>
          </a:p>
          <a:p>
            <a:r>
              <a:rPr lang="en-GB" dirty="0"/>
              <a:t>Hackathon video		 </a:t>
            </a:r>
            <a:r>
              <a:rPr lang="en-GB" dirty="0">
                <a:hlinkClick r:id="rId6"/>
              </a:rPr>
              <a:t>https://</a:t>
            </a:r>
            <a:r>
              <a:rPr lang="en-GB" dirty="0" smtClean="0">
                <a:hlinkClick r:id="rId6"/>
              </a:rPr>
              <a:t>www.youtube.com/watch?v=c01BaogQCxA</a:t>
            </a:r>
            <a:r>
              <a:rPr lang="en-GB" dirty="0" smtClean="0"/>
              <a:t> </a:t>
            </a:r>
            <a:endParaRPr lang="en-GB" dirty="0"/>
          </a:p>
          <a:p>
            <a:endParaRPr lang="en-GB" dirty="0" smtClean="0"/>
          </a:p>
          <a:p>
            <a:endParaRPr lang="en-GB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’s next?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63224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3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dirty="0" smtClean="0">
                <a:solidFill>
                  <a:srgbClr val="666666"/>
                </a:solidFill>
              </a:rPr>
              <a:t>Copyright © </a:t>
            </a:r>
            <a:r>
              <a:rPr lang="en-GB" dirty="0" smtClean="0">
                <a:solidFill>
                  <a:srgbClr val="666666"/>
                </a:solidFill>
              </a:rPr>
              <a:t>2015</a:t>
            </a:r>
            <a:r>
              <a:rPr dirty="0" smtClean="0">
                <a:solidFill>
                  <a:srgbClr val="666666"/>
                </a:solidFill>
              </a:rPr>
              <a:t> Accenture  All rights reserved.</a:t>
            </a:r>
            <a:endParaRPr dirty="0">
              <a:solidFill>
                <a:srgbClr val="666666"/>
              </a:solidFill>
            </a:endParaRPr>
          </a:p>
        </p:txBody>
      </p:sp>
      <p:pic>
        <p:nvPicPr>
          <p:cNvPr id="21506" name="Picture 2" descr="http://www.greatamericanthings.net/wp-content/uploads/2011/11/bulb-by-mynewslinx.blogspotdotcom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80" t="9495" r="31689" b="13239"/>
          <a:stretch/>
        </p:blipFill>
        <p:spPr bwMode="auto">
          <a:xfrm>
            <a:off x="1674190" y="1971296"/>
            <a:ext cx="1473823" cy="2160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10" name="Picture 6" descr="http://darulfiqh.com/wp-content/uploads/2012/05/pound-coins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3657" y="2047026"/>
            <a:ext cx="1606190" cy="1892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3148014" y="2846717"/>
            <a:ext cx="3321798" cy="552090"/>
            <a:chOff x="1932317" y="2846717"/>
            <a:chExt cx="4934309" cy="552090"/>
          </a:xfrm>
        </p:grpSpPr>
        <p:sp>
          <p:nvSpPr>
            <p:cNvPr id="4" name="Freeform 3"/>
            <p:cNvSpPr/>
            <p:nvPr/>
          </p:nvSpPr>
          <p:spPr>
            <a:xfrm>
              <a:off x="1932317" y="3015506"/>
              <a:ext cx="4882551" cy="130545"/>
            </a:xfrm>
            <a:custGeom>
              <a:avLst/>
              <a:gdLst>
                <a:gd name="connsiteX0" fmla="*/ 0 w 4882551"/>
                <a:gd name="connsiteY0" fmla="*/ 51758 h 261091"/>
                <a:gd name="connsiteX1" fmla="*/ 241540 w 4882551"/>
                <a:gd name="connsiteY1" fmla="*/ 34506 h 261091"/>
                <a:gd name="connsiteX2" fmla="*/ 448574 w 4882551"/>
                <a:gd name="connsiteY2" fmla="*/ 0 h 261091"/>
                <a:gd name="connsiteX3" fmla="*/ 1224951 w 4882551"/>
                <a:gd name="connsiteY3" fmla="*/ 17253 h 261091"/>
                <a:gd name="connsiteX4" fmla="*/ 1276709 w 4882551"/>
                <a:gd name="connsiteY4" fmla="*/ 34506 h 261091"/>
                <a:gd name="connsiteX5" fmla="*/ 2260121 w 4882551"/>
                <a:gd name="connsiteY5" fmla="*/ 51758 h 261091"/>
                <a:gd name="connsiteX6" fmla="*/ 2536166 w 4882551"/>
                <a:gd name="connsiteY6" fmla="*/ 86264 h 261091"/>
                <a:gd name="connsiteX7" fmla="*/ 2622430 w 4882551"/>
                <a:gd name="connsiteY7" fmla="*/ 103517 h 261091"/>
                <a:gd name="connsiteX8" fmla="*/ 3450566 w 4882551"/>
                <a:gd name="connsiteY8" fmla="*/ 120770 h 261091"/>
                <a:gd name="connsiteX9" fmla="*/ 4019909 w 4882551"/>
                <a:gd name="connsiteY9" fmla="*/ 155275 h 261091"/>
                <a:gd name="connsiteX10" fmla="*/ 4071668 w 4882551"/>
                <a:gd name="connsiteY10" fmla="*/ 189781 h 261091"/>
                <a:gd name="connsiteX11" fmla="*/ 4226943 w 4882551"/>
                <a:gd name="connsiteY11" fmla="*/ 207034 h 261091"/>
                <a:gd name="connsiteX12" fmla="*/ 4364966 w 4882551"/>
                <a:gd name="connsiteY12" fmla="*/ 241540 h 261091"/>
                <a:gd name="connsiteX13" fmla="*/ 4416725 w 4882551"/>
                <a:gd name="connsiteY13" fmla="*/ 258792 h 261091"/>
                <a:gd name="connsiteX14" fmla="*/ 4882551 w 4882551"/>
                <a:gd name="connsiteY14" fmla="*/ 258792 h 261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82551" h="261091">
                  <a:moveTo>
                    <a:pt x="0" y="51758"/>
                  </a:moveTo>
                  <a:lnTo>
                    <a:pt x="241540" y="34506"/>
                  </a:lnTo>
                  <a:cubicBezTo>
                    <a:pt x="397893" y="20910"/>
                    <a:pt x="353346" y="31743"/>
                    <a:pt x="448574" y="0"/>
                  </a:cubicBezTo>
                  <a:lnTo>
                    <a:pt x="1224951" y="17253"/>
                  </a:lnTo>
                  <a:cubicBezTo>
                    <a:pt x="1243121" y="18010"/>
                    <a:pt x="1258533" y="33900"/>
                    <a:pt x="1276709" y="34506"/>
                  </a:cubicBezTo>
                  <a:cubicBezTo>
                    <a:pt x="1604381" y="45428"/>
                    <a:pt x="1932317" y="46007"/>
                    <a:pt x="2260121" y="51758"/>
                  </a:cubicBezTo>
                  <a:cubicBezTo>
                    <a:pt x="2546141" y="99428"/>
                    <a:pt x="2121492" y="30973"/>
                    <a:pt x="2536166" y="86264"/>
                  </a:cubicBezTo>
                  <a:cubicBezTo>
                    <a:pt x="2565233" y="90140"/>
                    <a:pt x="2593127" y="102411"/>
                    <a:pt x="2622430" y="103517"/>
                  </a:cubicBezTo>
                  <a:cubicBezTo>
                    <a:pt x="2898339" y="113929"/>
                    <a:pt x="3174521" y="115019"/>
                    <a:pt x="3450566" y="120770"/>
                  </a:cubicBezTo>
                  <a:cubicBezTo>
                    <a:pt x="3709714" y="185558"/>
                    <a:pt x="3297113" y="87514"/>
                    <a:pt x="4019909" y="155275"/>
                  </a:cubicBezTo>
                  <a:cubicBezTo>
                    <a:pt x="4040554" y="157210"/>
                    <a:pt x="4051552" y="184752"/>
                    <a:pt x="4071668" y="189781"/>
                  </a:cubicBezTo>
                  <a:cubicBezTo>
                    <a:pt x="4122190" y="202412"/>
                    <a:pt x="4175185" y="201283"/>
                    <a:pt x="4226943" y="207034"/>
                  </a:cubicBezTo>
                  <a:cubicBezTo>
                    <a:pt x="4272951" y="218536"/>
                    <a:pt x="4319976" y="226544"/>
                    <a:pt x="4364966" y="241540"/>
                  </a:cubicBezTo>
                  <a:cubicBezTo>
                    <a:pt x="4382219" y="247291"/>
                    <a:pt x="4398549" y="258186"/>
                    <a:pt x="4416725" y="258792"/>
                  </a:cubicBezTo>
                  <a:cubicBezTo>
                    <a:pt x="4571914" y="263965"/>
                    <a:pt x="4727276" y="258792"/>
                    <a:pt x="4882551" y="258792"/>
                  </a:cubicBez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5" name="Freeform 4"/>
            <p:cNvSpPr/>
            <p:nvPr/>
          </p:nvSpPr>
          <p:spPr>
            <a:xfrm>
              <a:off x="6435306" y="2846717"/>
              <a:ext cx="431320" cy="293298"/>
            </a:xfrm>
            <a:custGeom>
              <a:avLst/>
              <a:gdLst>
                <a:gd name="connsiteX0" fmla="*/ 431320 w 431320"/>
                <a:gd name="connsiteY0" fmla="*/ 293298 h 293298"/>
                <a:gd name="connsiteX1" fmla="*/ 345056 w 431320"/>
                <a:gd name="connsiteY1" fmla="*/ 276045 h 293298"/>
                <a:gd name="connsiteX2" fmla="*/ 293298 w 431320"/>
                <a:gd name="connsiteY2" fmla="*/ 241540 h 293298"/>
                <a:gd name="connsiteX3" fmla="*/ 241539 w 431320"/>
                <a:gd name="connsiteY3" fmla="*/ 224287 h 293298"/>
                <a:gd name="connsiteX4" fmla="*/ 172528 w 431320"/>
                <a:gd name="connsiteY4" fmla="*/ 172528 h 293298"/>
                <a:gd name="connsiteX5" fmla="*/ 103517 w 431320"/>
                <a:gd name="connsiteY5" fmla="*/ 103517 h 293298"/>
                <a:gd name="connsiteX6" fmla="*/ 69011 w 431320"/>
                <a:gd name="connsiteY6" fmla="*/ 51758 h 293298"/>
                <a:gd name="connsiteX7" fmla="*/ 17252 w 431320"/>
                <a:gd name="connsiteY7" fmla="*/ 17253 h 293298"/>
                <a:gd name="connsiteX8" fmla="*/ 0 w 431320"/>
                <a:gd name="connsiteY8" fmla="*/ 0 h 293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1320" h="293298">
                  <a:moveTo>
                    <a:pt x="431320" y="293298"/>
                  </a:moveTo>
                  <a:cubicBezTo>
                    <a:pt x="402565" y="287547"/>
                    <a:pt x="372513" y="286341"/>
                    <a:pt x="345056" y="276045"/>
                  </a:cubicBezTo>
                  <a:cubicBezTo>
                    <a:pt x="325641" y="268764"/>
                    <a:pt x="311844" y="250813"/>
                    <a:pt x="293298" y="241540"/>
                  </a:cubicBezTo>
                  <a:cubicBezTo>
                    <a:pt x="277032" y="233407"/>
                    <a:pt x="258792" y="230038"/>
                    <a:pt x="241539" y="224287"/>
                  </a:cubicBezTo>
                  <a:cubicBezTo>
                    <a:pt x="218535" y="207034"/>
                    <a:pt x="190936" y="194618"/>
                    <a:pt x="172528" y="172528"/>
                  </a:cubicBezTo>
                  <a:cubicBezTo>
                    <a:pt x="101748" y="87592"/>
                    <a:pt x="220304" y="142447"/>
                    <a:pt x="103517" y="103517"/>
                  </a:cubicBezTo>
                  <a:cubicBezTo>
                    <a:pt x="92015" y="86264"/>
                    <a:pt x="83673" y="66420"/>
                    <a:pt x="69011" y="51758"/>
                  </a:cubicBezTo>
                  <a:cubicBezTo>
                    <a:pt x="54349" y="37096"/>
                    <a:pt x="33840" y="29694"/>
                    <a:pt x="17252" y="17253"/>
                  </a:cubicBezTo>
                  <a:cubicBezTo>
                    <a:pt x="10746" y="12373"/>
                    <a:pt x="5751" y="5751"/>
                    <a:pt x="0" y="0"/>
                  </a:cubicBez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7" name="Freeform 6"/>
            <p:cNvSpPr/>
            <p:nvPr/>
          </p:nvSpPr>
          <p:spPr>
            <a:xfrm>
              <a:off x="6504317" y="3157267"/>
              <a:ext cx="327804" cy="241540"/>
            </a:xfrm>
            <a:custGeom>
              <a:avLst/>
              <a:gdLst>
                <a:gd name="connsiteX0" fmla="*/ 327804 w 327804"/>
                <a:gd name="connsiteY0" fmla="*/ 0 h 241540"/>
                <a:gd name="connsiteX1" fmla="*/ 189781 w 327804"/>
                <a:gd name="connsiteY1" fmla="*/ 86264 h 241540"/>
                <a:gd name="connsiteX2" fmla="*/ 86264 w 327804"/>
                <a:gd name="connsiteY2" fmla="*/ 155276 h 241540"/>
                <a:gd name="connsiteX3" fmla="*/ 51758 w 327804"/>
                <a:gd name="connsiteY3" fmla="*/ 207034 h 241540"/>
                <a:gd name="connsiteX4" fmla="*/ 0 w 327804"/>
                <a:gd name="connsiteY4" fmla="*/ 241540 h 241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7804" h="241540">
                  <a:moveTo>
                    <a:pt x="327804" y="0"/>
                  </a:moveTo>
                  <a:cubicBezTo>
                    <a:pt x="315793" y="7206"/>
                    <a:pt x="212533" y="67304"/>
                    <a:pt x="189781" y="86264"/>
                  </a:cubicBezTo>
                  <a:cubicBezTo>
                    <a:pt x="103622" y="158063"/>
                    <a:pt x="177227" y="124955"/>
                    <a:pt x="86264" y="155276"/>
                  </a:cubicBezTo>
                  <a:cubicBezTo>
                    <a:pt x="74762" y="172529"/>
                    <a:pt x="66420" y="192372"/>
                    <a:pt x="51758" y="207034"/>
                  </a:cubicBezTo>
                  <a:cubicBezTo>
                    <a:pt x="37096" y="221696"/>
                    <a:pt x="0" y="241540"/>
                    <a:pt x="0" y="241540"/>
                  </a:cubicBez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FFFFFF"/>
                </a:solidFill>
              </a:endParaRPr>
            </a:p>
          </p:txBody>
        </p:sp>
      </p:grpSp>
      <p:sp>
        <p:nvSpPr>
          <p:cNvPr id="12" name="Title 3"/>
          <p:cNvSpPr txBox="1">
            <a:spLocks/>
          </p:cNvSpPr>
          <p:nvPr/>
        </p:nvSpPr>
        <p:spPr>
          <a:xfrm>
            <a:off x="3000340" y="2311032"/>
            <a:ext cx="3618797" cy="708212"/>
          </a:xfrm>
          <a:prstGeom prst="rect">
            <a:avLst/>
          </a:prstGeom>
          <a:noFill/>
          <a:effectLst>
            <a:softEdge rad="317500"/>
          </a:effectLst>
        </p:spPr>
        <p:txBody>
          <a:bodyPr anchor="t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300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GB" sz="4000" b="1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Value Stream</a:t>
            </a:r>
            <a:endParaRPr lang="en-GB" sz="2600" b="1">
              <a:solidFill>
                <a:srgbClr val="FFFFFF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3" name="Title 3"/>
          <p:cNvSpPr txBox="1">
            <a:spLocks/>
          </p:cNvSpPr>
          <p:nvPr/>
        </p:nvSpPr>
        <p:spPr>
          <a:xfrm>
            <a:off x="1674191" y="4092649"/>
            <a:ext cx="1534074" cy="708212"/>
          </a:xfrm>
          <a:prstGeom prst="rect">
            <a:avLst/>
          </a:prstGeom>
          <a:noFill/>
          <a:effectLst>
            <a:softEdge rad="317500"/>
          </a:effectLst>
        </p:spPr>
        <p:txBody>
          <a:bodyPr anchor="t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300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GB" sz="4000" b="1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dea</a:t>
            </a:r>
            <a:endParaRPr lang="en-GB" sz="2600" b="1">
              <a:solidFill>
                <a:srgbClr val="FFFFFF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4" name="Title 3"/>
          <p:cNvSpPr txBox="1">
            <a:spLocks/>
          </p:cNvSpPr>
          <p:nvPr/>
        </p:nvSpPr>
        <p:spPr>
          <a:xfrm>
            <a:off x="6485773" y="4144408"/>
            <a:ext cx="1534074" cy="708212"/>
          </a:xfrm>
          <a:prstGeom prst="rect">
            <a:avLst/>
          </a:prstGeom>
          <a:noFill/>
          <a:effectLst>
            <a:softEdge rad="317500"/>
          </a:effectLst>
        </p:spPr>
        <p:txBody>
          <a:bodyPr anchor="t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300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GB" sz="4000" b="1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Value</a:t>
            </a:r>
            <a:endParaRPr lang="en-GB" sz="2600" b="1">
              <a:solidFill>
                <a:srgbClr val="FFFFFF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5" name="Title 3"/>
          <p:cNvSpPr txBox="1">
            <a:spLocks/>
          </p:cNvSpPr>
          <p:nvPr/>
        </p:nvSpPr>
        <p:spPr>
          <a:xfrm>
            <a:off x="496800" y="5"/>
            <a:ext cx="8151900" cy="100297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300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endParaRPr lang="en-GB">
              <a:solidFill>
                <a:srgbClr val="FFFFFF"/>
              </a:solidFill>
            </a:endParaRPr>
          </a:p>
          <a:p>
            <a:endParaRPr lang="en-GB">
              <a:solidFill>
                <a:srgbClr val="FFFFFF"/>
              </a:solidFill>
            </a:endParaRPr>
          </a:p>
          <a:p>
            <a:r>
              <a:rPr lang="en-GB">
                <a:solidFill>
                  <a:srgbClr val="FFFFFF"/>
                </a:solidFill>
              </a:rPr>
              <a:t>Everything is all about this</a:t>
            </a:r>
          </a:p>
        </p:txBody>
      </p:sp>
    </p:spTree>
    <p:extLst>
      <p:ext uri="{BB962C8B-B14F-4D97-AF65-F5344CB8AC3E}">
        <p14:creationId xmlns:p14="http://schemas.microsoft.com/office/powerpoint/2010/main" val="246725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756882" y="4022824"/>
            <a:ext cx="3393528" cy="1677738"/>
            <a:chOff x="1756882" y="3500437"/>
            <a:chExt cx="3393528" cy="1677738"/>
          </a:xfrm>
        </p:grpSpPr>
        <p:grpSp>
          <p:nvGrpSpPr>
            <p:cNvPr id="4" name="Group 3"/>
            <p:cNvGrpSpPr/>
            <p:nvPr/>
          </p:nvGrpSpPr>
          <p:grpSpPr>
            <a:xfrm>
              <a:off x="1756882" y="4303314"/>
              <a:ext cx="1607804" cy="874861"/>
              <a:chOff x="1756882" y="4303314"/>
              <a:chExt cx="1607804" cy="874861"/>
            </a:xfrm>
          </p:grpSpPr>
          <p:sp>
            <p:nvSpPr>
              <p:cNvPr id="33" name="Freeform 32"/>
              <p:cNvSpPr/>
              <p:nvPr/>
            </p:nvSpPr>
            <p:spPr>
              <a:xfrm>
                <a:off x="1756882" y="5132456"/>
                <a:ext cx="1584946" cy="45719"/>
              </a:xfrm>
              <a:custGeom>
                <a:avLst/>
                <a:gdLst>
                  <a:gd name="connsiteX0" fmla="*/ 0 w 4756935"/>
                  <a:gd name="connsiteY0" fmla="*/ 82193 h 102742"/>
                  <a:gd name="connsiteX1" fmla="*/ 893852 w 4756935"/>
                  <a:gd name="connsiteY1" fmla="*/ 71919 h 102742"/>
                  <a:gd name="connsiteX2" fmla="*/ 934948 w 4756935"/>
                  <a:gd name="connsiteY2" fmla="*/ 61645 h 102742"/>
                  <a:gd name="connsiteX3" fmla="*/ 1078787 w 4756935"/>
                  <a:gd name="connsiteY3" fmla="*/ 51371 h 102742"/>
                  <a:gd name="connsiteX4" fmla="*/ 1171254 w 4756935"/>
                  <a:gd name="connsiteY4" fmla="*/ 61645 h 102742"/>
                  <a:gd name="connsiteX5" fmla="*/ 1212351 w 4756935"/>
                  <a:gd name="connsiteY5" fmla="*/ 71919 h 102742"/>
                  <a:gd name="connsiteX6" fmla="*/ 1407560 w 4756935"/>
                  <a:gd name="connsiteY6" fmla="*/ 61645 h 102742"/>
                  <a:gd name="connsiteX7" fmla="*/ 1643865 w 4756935"/>
                  <a:gd name="connsiteY7" fmla="*/ 71919 h 102742"/>
                  <a:gd name="connsiteX8" fmla="*/ 1715784 w 4756935"/>
                  <a:gd name="connsiteY8" fmla="*/ 92467 h 102742"/>
                  <a:gd name="connsiteX9" fmla="*/ 1756881 w 4756935"/>
                  <a:gd name="connsiteY9" fmla="*/ 102742 h 102742"/>
                  <a:gd name="connsiteX10" fmla="*/ 1921267 w 4756935"/>
                  <a:gd name="connsiteY10" fmla="*/ 92467 h 102742"/>
                  <a:gd name="connsiteX11" fmla="*/ 2013735 w 4756935"/>
                  <a:gd name="connsiteY11" fmla="*/ 82193 h 102742"/>
                  <a:gd name="connsiteX12" fmla="*/ 2147299 w 4756935"/>
                  <a:gd name="connsiteY12" fmla="*/ 71919 h 102742"/>
                  <a:gd name="connsiteX13" fmla="*/ 2260315 w 4756935"/>
                  <a:gd name="connsiteY13" fmla="*/ 61645 h 102742"/>
                  <a:gd name="connsiteX14" fmla="*/ 2465798 w 4756935"/>
                  <a:gd name="connsiteY14" fmla="*/ 41097 h 102742"/>
                  <a:gd name="connsiteX15" fmla="*/ 2558265 w 4756935"/>
                  <a:gd name="connsiteY15" fmla="*/ 30822 h 102742"/>
                  <a:gd name="connsiteX16" fmla="*/ 2732926 w 4756935"/>
                  <a:gd name="connsiteY16" fmla="*/ 10274 h 102742"/>
                  <a:gd name="connsiteX17" fmla="*/ 2825393 w 4756935"/>
                  <a:gd name="connsiteY17" fmla="*/ 0 h 102742"/>
                  <a:gd name="connsiteX18" fmla="*/ 3041151 w 4756935"/>
                  <a:gd name="connsiteY18" fmla="*/ 10274 h 102742"/>
                  <a:gd name="connsiteX19" fmla="*/ 3626778 w 4756935"/>
                  <a:gd name="connsiteY19" fmla="*/ 30822 h 102742"/>
                  <a:gd name="connsiteX20" fmla="*/ 3678148 w 4756935"/>
                  <a:gd name="connsiteY20" fmla="*/ 41097 h 102742"/>
                  <a:gd name="connsiteX21" fmla="*/ 3791164 w 4756935"/>
                  <a:gd name="connsiteY21" fmla="*/ 51371 h 102742"/>
                  <a:gd name="connsiteX22" fmla="*/ 3873357 w 4756935"/>
                  <a:gd name="connsiteY22" fmla="*/ 61645 h 102742"/>
                  <a:gd name="connsiteX23" fmla="*/ 4017196 w 4756935"/>
                  <a:gd name="connsiteY23" fmla="*/ 61645 h 102742"/>
                  <a:gd name="connsiteX24" fmla="*/ 4068566 w 4756935"/>
                  <a:gd name="connsiteY24" fmla="*/ 51371 h 102742"/>
                  <a:gd name="connsiteX25" fmla="*/ 4479533 w 4756935"/>
                  <a:gd name="connsiteY25" fmla="*/ 41097 h 102742"/>
                  <a:gd name="connsiteX26" fmla="*/ 4654193 w 4756935"/>
                  <a:gd name="connsiteY26" fmla="*/ 30822 h 102742"/>
                  <a:gd name="connsiteX27" fmla="*/ 4756935 w 4756935"/>
                  <a:gd name="connsiteY27" fmla="*/ 20548 h 102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756935" h="102742">
                    <a:moveTo>
                      <a:pt x="0" y="82193"/>
                    </a:moveTo>
                    <a:lnTo>
                      <a:pt x="893852" y="71919"/>
                    </a:lnTo>
                    <a:cubicBezTo>
                      <a:pt x="907969" y="71609"/>
                      <a:pt x="920914" y="63204"/>
                      <a:pt x="934948" y="61645"/>
                    </a:cubicBezTo>
                    <a:cubicBezTo>
                      <a:pt x="982722" y="56337"/>
                      <a:pt x="1030841" y="54796"/>
                      <a:pt x="1078787" y="51371"/>
                    </a:cubicBezTo>
                    <a:cubicBezTo>
                      <a:pt x="1109609" y="54796"/>
                      <a:pt x="1140603" y="56929"/>
                      <a:pt x="1171254" y="61645"/>
                    </a:cubicBezTo>
                    <a:cubicBezTo>
                      <a:pt x="1185210" y="63792"/>
                      <a:pt x="1198230" y="71919"/>
                      <a:pt x="1212351" y="71919"/>
                    </a:cubicBezTo>
                    <a:cubicBezTo>
                      <a:pt x="1277511" y="71919"/>
                      <a:pt x="1342490" y="65070"/>
                      <a:pt x="1407560" y="61645"/>
                    </a:cubicBezTo>
                    <a:cubicBezTo>
                      <a:pt x="1486328" y="65070"/>
                      <a:pt x="1565238" y="66095"/>
                      <a:pt x="1643865" y="71919"/>
                    </a:cubicBezTo>
                    <a:cubicBezTo>
                      <a:pt x="1665545" y="73525"/>
                      <a:pt x="1694515" y="86390"/>
                      <a:pt x="1715784" y="92467"/>
                    </a:cubicBezTo>
                    <a:cubicBezTo>
                      <a:pt x="1729361" y="96346"/>
                      <a:pt x="1743182" y="99317"/>
                      <a:pt x="1756881" y="102742"/>
                    </a:cubicBezTo>
                    <a:lnTo>
                      <a:pt x="1921267" y="92467"/>
                    </a:lnTo>
                    <a:cubicBezTo>
                      <a:pt x="1952181" y="89994"/>
                      <a:pt x="1982850" y="85001"/>
                      <a:pt x="2013735" y="82193"/>
                    </a:cubicBezTo>
                    <a:cubicBezTo>
                      <a:pt x="2058204" y="78150"/>
                      <a:pt x="2102800" y="75627"/>
                      <a:pt x="2147299" y="71919"/>
                    </a:cubicBezTo>
                    <a:lnTo>
                      <a:pt x="2260315" y="61645"/>
                    </a:lnTo>
                    <a:cubicBezTo>
                      <a:pt x="2370484" y="39611"/>
                      <a:pt x="2269750" y="57435"/>
                      <a:pt x="2465798" y="41097"/>
                    </a:cubicBezTo>
                    <a:cubicBezTo>
                      <a:pt x="2496703" y="38522"/>
                      <a:pt x="2527443" y="34247"/>
                      <a:pt x="2558265" y="30822"/>
                    </a:cubicBezTo>
                    <a:cubicBezTo>
                      <a:pt x="2646786" y="8692"/>
                      <a:pt x="2572303" y="24876"/>
                      <a:pt x="2732926" y="10274"/>
                    </a:cubicBezTo>
                    <a:cubicBezTo>
                      <a:pt x="2763811" y="7466"/>
                      <a:pt x="2794571" y="3425"/>
                      <a:pt x="2825393" y="0"/>
                    </a:cubicBezTo>
                    <a:lnTo>
                      <a:pt x="3041151" y="10274"/>
                    </a:lnTo>
                    <a:cubicBezTo>
                      <a:pt x="3619391" y="27535"/>
                      <a:pt x="3340556" y="4802"/>
                      <a:pt x="3626778" y="30822"/>
                    </a:cubicBezTo>
                    <a:cubicBezTo>
                      <a:pt x="3643901" y="34247"/>
                      <a:pt x="3660820" y="38931"/>
                      <a:pt x="3678148" y="41097"/>
                    </a:cubicBezTo>
                    <a:cubicBezTo>
                      <a:pt x="3715683" y="45789"/>
                      <a:pt x="3753544" y="47411"/>
                      <a:pt x="3791164" y="51371"/>
                    </a:cubicBezTo>
                    <a:cubicBezTo>
                      <a:pt x="3818623" y="54261"/>
                      <a:pt x="3845959" y="58220"/>
                      <a:pt x="3873357" y="61645"/>
                    </a:cubicBezTo>
                    <a:cubicBezTo>
                      <a:pt x="3937430" y="83002"/>
                      <a:pt x="3902603" y="75969"/>
                      <a:pt x="4017196" y="61645"/>
                    </a:cubicBezTo>
                    <a:cubicBezTo>
                      <a:pt x="4034524" y="59479"/>
                      <a:pt x="4051121" y="52146"/>
                      <a:pt x="4068566" y="51371"/>
                    </a:cubicBezTo>
                    <a:cubicBezTo>
                      <a:pt x="4205463" y="45287"/>
                      <a:pt x="4342544" y="44522"/>
                      <a:pt x="4479533" y="41097"/>
                    </a:cubicBezTo>
                    <a:cubicBezTo>
                      <a:pt x="4537753" y="37672"/>
                      <a:pt x="4596092" y="35874"/>
                      <a:pt x="4654193" y="30822"/>
                    </a:cubicBezTo>
                    <a:cubicBezTo>
                      <a:pt x="4798238" y="18296"/>
                      <a:pt x="4649706" y="20548"/>
                      <a:pt x="4756935" y="20548"/>
                    </a:cubicBezTo>
                  </a:path>
                </a:pathLst>
              </a:custGeom>
              <a:noFill/>
              <a:ln w="57150"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Freeform 33"/>
              <p:cNvSpPr/>
              <p:nvPr/>
            </p:nvSpPr>
            <p:spPr>
              <a:xfrm>
                <a:off x="3318967" y="4303314"/>
                <a:ext cx="45719" cy="852001"/>
              </a:xfrm>
              <a:custGeom>
                <a:avLst/>
                <a:gdLst>
                  <a:gd name="connsiteX0" fmla="*/ 0 w 123290"/>
                  <a:gd name="connsiteY0" fmla="*/ 0 h 3133618"/>
                  <a:gd name="connsiteX1" fmla="*/ 10274 w 123290"/>
                  <a:gd name="connsiteY1" fmla="*/ 246580 h 3133618"/>
                  <a:gd name="connsiteX2" fmla="*/ 20548 w 123290"/>
                  <a:gd name="connsiteY2" fmla="*/ 297951 h 3133618"/>
                  <a:gd name="connsiteX3" fmla="*/ 41096 w 123290"/>
                  <a:gd name="connsiteY3" fmla="*/ 575353 h 3133618"/>
                  <a:gd name="connsiteX4" fmla="*/ 51370 w 123290"/>
                  <a:gd name="connsiteY4" fmla="*/ 647272 h 3133618"/>
                  <a:gd name="connsiteX5" fmla="*/ 61645 w 123290"/>
                  <a:gd name="connsiteY5" fmla="*/ 678094 h 3133618"/>
                  <a:gd name="connsiteX6" fmla="*/ 51370 w 123290"/>
                  <a:gd name="connsiteY6" fmla="*/ 770562 h 3133618"/>
                  <a:gd name="connsiteX7" fmla="*/ 61645 w 123290"/>
                  <a:gd name="connsiteY7" fmla="*/ 1325366 h 3133618"/>
                  <a:gd name="connsiteX8" fmla="*/ 71919 w 123290"/>
                  <a:gd name="connsiteY8" fmla="*/ 1376737 h 3133618"/>
                  <a:gd name="connsiteX9" fmla="*/ 82193 w 123290"/>
                  <a:gd name="connsiteY9" fmla="*/ 1479479 h 3133618"/>
                  <a:gd name="connsiteX10" fmla="*/ 102741 w 123290"/>
                  <a:gd name="connsiteY10" fmla="*/ 1561672 h 3133618"/>
                  <a:gd name="connsiteX11" fmla="*/ 123290 w 123290"/>
                  <a:gd name="connsiteY11" fmla="*/ 1684962 h 3133618"/>
                  <a:gd name="connsiteX12" fmla="*/ 113015 w 123290"/>
                  <a:gd name="connsiteY12" fmla="*/ 2024009 h 3133618"/>
                  <a:gd name="connsiteX13" fmla="*/ 102741 w 123290"/>
                  <a:gd name="connsiteY13" fmla="*/ 2178121 h 3133618"/>
                  <a:gd name="connsiteX14" fmla="*/ 92467 w 123290"/>
                  <a:gd name="connsiteY14" fmla="*/ 2876764 h 3133618"/>
                  <a:gd name="connsiteX15" fmla="*/ 82193 w 123290"/>
                  <a:gd name="connsiteY15" fmla="*/ 2907587 h 3133618"/>
                  <a:gd name="connsiteX16" fmla="*/ 71919 w 123290"/>
                  <a:gd name="connsiteY16" fmla="*/ 2948683 h 3133618"/>
                  <a:gd name="connsiteX17" fmla="*/ 61645 w 123290"/>
                  <a:gd name="connsiteY17" fmla="*/ 3133618 h 3133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3290" h="3133618">
                    <a:moveTo>
                      <a:pt x="0" y="0"/>
                    </a:moveTo>
                    <a:cubicBezTo>
                      <a:pt x="3425" y="82193"/>
                      <a:pt x="4614" y="164510"/>
                      <a:pt x="10274" y="246580"/>
                    </a:cubicBezTo>
                    <a:cubicBezTo>
                      <a:pt x="11475" y="264001"/>
                      <a:pt x="19347" y="280530"/>
                      <a:pt x="20548" y="297951"/>
                    </a:cubicBezTo>
                    <a:cubicBezTo>
                      <a:pt x="40133" y="581931"/>
                      <a:pt x="3642" y="462988"/>
                      <a:pt x="41096" y="575353"/>
                    </a:cubicBezTo>
                    <a:cubicBezTo>
                      <a:pt x="44521" y="599326"/>
                      <a:pt x="46621" y="623526"/>
                      <a:pt x="51370" y="647272"/>
                    </a:cubicBezTo>
                    <a:cubicBezTo>
                      <a:pt x="53494" y="657892"/>
                      <a:pt x="61645" y="667264"/>
                      <a:pt x="61645" y="678094"/>
                    </a:cubicBezTo>
                    <a:cubicBezTo>
                      <a:pt x="61645" y="709106"/>
                      <a:pt x="54795" y="739739"/>
                      <a:pt x="51370" y="770562"/>
                    </a:cubicBezTo>
                    <a:cubicBezTo>
                      <a:pt x="54795" y="955497"/>
                      <a:pt x="55378" y="1140506"/>
                      <a:pt x="61645" y="1325366"/>
                    </a:cubicBezTo>
                    <a:cubicBezTo>
                      <a:pt x="62237" y="1342819"/>
                      <a:pt x="69611" y="1359427"/>
                      <a:pt x="71919" y="1376737"/>
                    </a:cubicBezTo>
                    <a:cubicBezTo>
                      <a:pt x="76468" y="1410853"/>
                      <a:pt x="77644" y="1445363"/>
                      <a:pt x="82193" y="1479479"/>
                    </a:cubicBezTo>
                    <a:cubicBezTo>
                      <a:pt x="102566" y="1632278"/>
                      <a:pt x="81999" y="1457964"/>
                      <a:pt x="102741" y="1561672"/>
                    </a:cubicBezTo>
                    <a:cubicBezTo>
                      <a:pt x="110912" y="1602526"/>
                      <a:pt x="123290" y="1684962"/>
                      <a:pt x="123290" y="1684962"/>
                    </a:cubicBezTo>
                    <a:cubicBezTo>
                      <a:pt x="119865" y="1797978"/>
                      <a:pt x="117722" y="1911039"/>
                      <a:pt x="113015" y="2024009"/>
                    </a:cubicBezTo>
                    <a:cubicBezTo>
                      <a:pt x="110872" y="2075449"/>
                      <a:pt x="103981" y="2126651"/>
                      <a:pt x="102741" y="2178121"/>
                    </a:cubicBezTo>
                    <a:cubicBezTo>
                      <a:pt x="97131" y="2410960"/>
                      <a:pt x="99025" y="2643950"/>
                      <a:pt x="92467" y="2876764"/>
                    </a:cubicBezTo>
                    <a:cubicBezTo>
                      <a:pt x="92162" y="2887590"/>
                      <a:pt x="85168" y="2897174"/>
                      <a:pt x="82193" y="2907587"/>
                    </a:cubicBezTo>
                    <a:cubicBezTo>
                      <a:pt x="78314" y="2921164"/>
                      <a:pt x="75344" y="2934984"/>
                      <a:pt x="71919" y="2948683"/>
                    </a:cubicBezTo>
                    <a:lnTo>
                      <a:pt x="61645" y="3133618"/>
                    </a:lnTo>
                  </a:path>
                </a:pathLst>
              </a:custGeom>
              <a:noFill/>
              <a:ln w="57150"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5" name="Group 4"/>
            <p:cNvGrpSpPr/>
            <p:nvPr/>
          </p:nvGrpSpPr>
          <p:grpSpPr>
            <a:xfrm>
              <a:off x="3281575" y="3500437"/>
              <a:ext cx="1868835" cy="878535"/>
              <a:chOff x="3281575" y="3500437"/>
              <a:chExt cx="1868835" cy="878535"/>
            </a:xfrm>
          </p:grpSpPr>
          <p:grpSp>
            <p:nvGrpSpPr>
              <p:cNvPr id="45" name="Group 44"/>
              <p:cNvGrpSpPr/>
              <p:nvPr/>
            </p:nvGrpSpPr>
            <p:grpSpPr>
              <a:xfrm>
                <a:off x="3281576" y="3500437"/>
                <a:ext cx="1607804" cy="874861"/>
                <a:chOff x="1756882" y="4303314"/>
                <a:chExt cx="1607804" cy="874861"/>
              </a:xfrm>
            </p:grpSpPr>
            <p:sp>
              <p:nvSpPr>
                <p:cNvPr id="46" name="Freeform 45"/>
                <p:cNvSpPr/>
                <p:nvPr/>
              </p:nvSpPr>
              <p:spPr>
                <a:xfrm>
                  <a:off x="1756882" y="5132456"/>
                  <a:ext cx="1584946" cy="45719"/>
                </a:xfrm>
                <a:custGeom>
                  <a:avLst/>
                  <a:gdLst>
                    <a:gd name="connsiteX0" fmla="*/ 0 w 4756935"/>
                    <a:gd name="connsiteY0" fmla="*/ 82193 h 102742"/>
                    <a:gd name="connsiteX1" fmla="*/ 893852 w 4756935"/>
                    <a:gd name="connsiteY1" fmla="*/ 71919 h 102742"/>
                    <a:gd name="connsiteX2" fmla="*/ 934948 w 4756935"/>
                    <a:gd name="connsiteY2" fmla="*/ 61645 h 102742"/>
                    <a:gd name="connsiteX3" fmla="*/ 1078787 w 4756935"/>
                    <a:gd name="connsiteY3" fmla="*/ 51371 h 102742"/>
                    <a:gd name="connsiteX4" fmla="*/ 1171254 w 4756935"/>
                    <a:gd name="connsiteY4" fmla="*/ 61645 h 102742"/>
                    <a:gd name="connsiteX5" fmla="*/ 1212351 w 4756935"/>
                    <a:gd name="connsiteY5" fmla="*/ 71919 h 102742"/>
                    <a:gd name="connsiteX6" fmla="*/ 1407560 w 4756935"/>
                    <a:gd name="connsiteY6" fmla="*/ 61645 h 102742"/>
                    <a:gd name="connsiteX7" fmla="*/ 1643865 w 4756935"/>
                    <a:gd name="connsiteY7" fmla="*/ 71919 h 102742"/>
                    <a:gd name="connsiteX8" fmla="*/ 1715784 w 4756935"/>
                    <a:gd name="connsiteY8" fmla="*/ 92467 h 102742"/>
                    <a:gd name="connsiteX9" fmla="*/ 1756881 w 4756935"/>
                    <a:gd name="connsiteY9" fmla="*/ 102742 h 102742"/>
                    <a:gd name="connsiteX10" fmla="*/ 1921267 w 4756935"/>
                    <a:gd name="connsiteY10" fmla="*/ 92467 h 102742"/>
                    <a:gd name="connsiteX11" fmla="*/ 2013735 w 4756935"/>
                    <a:gd name="connsiteY11" fmla="*/ 82193 h 102742"/>
                    <a:gd name="connsiteX12" fmla="*/ 2147299 w 4756935"/>
                    <a:gd name="connsiteY12" fmla="*/ 71919 h 102742"/>
                    <a:gd name="connsiteX13" fmla="*/ 2260315 w 4756935"/>
                    <a:gd name="connsiteY13" fmla="*/ 61645 h 102742"/>
                    <a:gd name="connsiteX14" fmla="*/ 2465798 w 4756935"/>
                    <a:gd name="connsiteY14" fmla="*/ 41097 h 102742"/>
                    <a:gd name="connsiteX15" fmla="*/ 2558265 w 4756935"/>
                    <a:gd name="connsiteY15" fmla="*/ 30822 h 102742"/>
                    <a:gd name="connsiteX16" fmla="*/ 2732926 w 4756935"/>
                    <a:gd name="connsiteY16" fmla="*/ 10274 h 102742"/>
                    <a:gd name="connsiteX17" fmla="*/ 2825393 w 4756935"/>
                    <a:gd name="connsiteY17" fmla="*/ 0 h 102742"/>
                    <a:gd name="connsiteX18" fmla="*/ 3041151 w 4756935"/>
                    <a:gd name="connsiteY18" fmla="*/ 10274 h 102742"/>
                    <a:gd name="connsiteX19" fmla="*/ 3626778 w 4756935"/>
                    <a:gd name="connsiteY19" fmla="*/ 30822 h 102742"/>
                    <a:gd name="connsiteX20" fmla="*/ 3678148 w 4756935"/>
                    <a:gd name="connsiteY20" fmla="*/ 41097 h 102742"/>
                    <a:gd name="connsiteX21" fmla="*/ 3791164 w 4756935"/>
                    <a:gd name="connsiteY21" fmla="*/ 51371 h 102742"/>
                    <a:gd name="connsiteX22" fmla="*/ 3873357 w 4756935"/>
                    <a:gd name="connsiteY22" fmla="*/ 61645 h 102742"/>
                    <a:gd name="connsiteX23" fmla="*/ 4017196 w 4756935"/>
                    <a:gd name="connsiteY23" fmla="*/ 61645 h 102742"/>
                    <a:gd name="connsiteX24" fmla="*/ 4068566 w 4756935"/>
                    <a:gd name="connsiteY24" fmla="*/ 51371 h 102742"/>
                    <a:gd name="connsiteX25" fmla="*/ 4479533 w 4756935"/>
                    <a:gd name="connsiteY25" fmla="*/ 41097 h 102742"/>
                    <a:gd name="connsiteX26" fmla="*/ 4654193 w 4756935"/>
                    <a:gd name="connsiteY26" fmla="*/ 30822 h 102742"/>
                    <a:gd name="connsiteX27" fmla="*/ 4756935 w 4756935"/>
                    <a:gd name="connsiteY27" fmla="*/ 20548 h 1027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4756935" h="102742">
                      <a:moveTo>
                        <a:pt x="0" y="82193"/>
                      </a:moveTo>
                      <a:lnTo>
                        <a:pt x="893852" y="71919"/>
                      </a:lnTo>
                      <a:cubicBezTo>
                        <a:pt x="907969" y="71609"/>
                        <a:pt x="920914" y="63204"/>
                        <a:pt x="934948" y="61645"/>
                      </a:cubicBezTo>
                      <a:cubicBezTo>
                        <a:pt x="982722" y="56337"/>
                        <a:pt x="1030841" y="54796"/>
                        <a:pt x="1078787" y="51371"/>
                      </a:cubicBezTo>
                      <a:cubicBezTo>
                        <a:pt x="1109609" y="54796"/>
                        <a:pt x="1140603" y="56929"/>
                        <a:pt x="1171254" y="61645"/>
                      </a:cubicBezTo>
                      <a:cubicBezTo>
                        <a:pt x="1185210" y="63792"/>
                        <a:pt x="1198230" y="71919"/>
                        <a:pt x="1212351" y="71919"/>
                      </a:cubicBezTo>
                      <a:cubicBezTo>
                        <a:pt x="1277511" y="71919"/>
                        <a:pt x="1342490" y="65070"/>
                        <a:pt x="1407560" y="61645"/>
                      </a:cubicBezTo>
                      <a:cubicBezTo>
                        <a:pt x="1486328" y="65070"/>
                        <a:pt x="1565238" y="66095"/>
                        <a:pt x="1643865" y="71919"/>
                      </a:cubicBezTo>
                      <a:cubicBezTo>
                        <a:pt x="1665545" y="73525"/>
                        <a:pt x="1694515" y="86390"/>
                        <a:pt x="1715784" y="92467"/>
                      </a:cubicBezTo>
                      <a:cubicBezTo>
                        <a:pt x="1729361" y="96346"/>
                        <a:pt x="1743182" y="99317"/>
                        <a:pt x="1756881" y="102742"/>
                      </a:cubicBezTo>
                      <a:lnTo>
                        <a:pt x="1921267" y="92467"/>
                      </a:lnTo>
                      <a:cubicBezTo>
                        <a:pt x="1952181" y="89994"/>
                        <a:pt x="1982850" y="85001"/>
                        <a:pt x="2013735" y="82193"/>
                      </a:cubicBezTo>
                      <a:cubicBezTo>
                        <a:pt x="2058204" y="78150"/>
                        <a:pt x="2102800" y="75627"/>
                        <a:pt x="2147299" y="71919"/>
                      </a:cubicBezTo>
                      <a:lnTo>
                        <a:pt x="2260315" y="61645"/>
                      </a:lnTo>
                      <a:cubicBezTo>
                        <a:pt x="2370484" y="39611"/>
                        <a:pt x="2269750" y="57435"/>
                        <a:pt x="2465798" y="41097"/>
                      </a:cubicBezTo>
                      <a:cubicBezTo>
                        <a:pt x="2496703" y="38522"/>
                        <a:pt x="2527443" y="34247"/>
                        <a:pt x="2558265" y="30822"/>
                      </a:cubicBezTo>
                      <a:cubicBezTo>
                        <a:pt x="2646786" y="8692"/>
                        <a:pt x="2572303" y="24876"/>
                        <a:pt x="2732926" y="10274"/>
                      </a:cubicBezTo>
                      <a:cubicBezTo>
                        <a:pt x="2763811" y="7466"/>
                        <a:pt x="2794571" y="3425"/>
                        <a:pt x="2825393" y="0"/>
                      </a:cubicBezTo>
                      <a:lnTo>
                        <a:pt x="3041151" y="10274"/>
                      </a:lnTo>
                      <a:cubicBezTo>
                        <a:pt x="3619391" y="27535"/>
                        <a:pt x="3340556" y="4802"/>
                        <a:pt x="3626778" y="30822"/>
                      </a:cubicBezTo>
                      <a:cubicBezTo>
                        <a:pt x="3643901" y="34247"/>
                        <a:pt x="3660820" y="38931"/>
                        <a:pt x="3678148" y="41097"/>
                      </a:cubicBezTo>
                      <a:cubicBezTo>
                        <a:pt x="3715683" y="45789"/>
                        <a:pt x="3753544" y="47411"/>
                        <a:pt x="3791164" y="51371"/>
                      </a:cubicBezTo>
                      <a:cubicBezTo>
                        <a:pt x="3818623" y="54261"/>
                        <a:pt x="3845959" y="58220"/>
                        <a:pt x="3873357" y="61645"/>
                      </a:cubicBezTo>
                      <a:cubicBezTo>
                        <a:pt x="3937430" y="83002"/>
                        <a:pt x="3902603" y="75969"/>
                        <a:pt x="4017196" y="61645"/>
                      </a:cubicBezTo>
                      <a:cubicBezTo>
                        <a:pt x="4034524" y="59479"/>
                        <a:pt x="4051121" y="52146"/>
                        <a:pt x="4068566" y="51371"/>
                      </a:cubicBezTo>
                      <a:cubicBezTo>
                        <a:pt x="4205463" y="45287"/>
                        <a:pt x="4342544" y="44522"/>
                        <a:pt x="4479533" y="41097"/>
                      </a:cubicBezTo>
                      <a:cubicBezTo>
                        <a:pt x="4537753" y="37672"/>
                        <a:pt x="4596092" y="35874"/>
                        <a:pt x="4654193" y="30822"/>
                      </a:cubicBezTo>
                      <a:cubicBezTo>
                        <a:pt x="4798238" y="18296"/>
                        <a:pt x="4649706" y="20548"/>
                        <a:pt x="4756935" y="20548"/>
                      </a:cubicBezTo>
                    </a:path>
                  </a:pathLst>
                </a:custGeom>
                <a:noFill/>
                <a:ln w="57150">
                  <a:solidFill>
                    <a:srgbClr val="FFFF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7" name="Freeform 46"/>
                <p:cNvSpPr/>
                <p:nvPr/>
              </p:nvSpPr>
              <p:spPr>
                <a:xfrm>
                  <a:off x="3318967" y="4303314"/>
                  <a:ext cx="45719" cy="852001"/>
                </a:xfrm>
                <a:custGeom>
                  <a:avLst/>
                  <a:gdLst>
                    <a:gd name="connsiteX0" fmla="*/ 0 w 123290"/>
                    <a:gd name="connsiteY0" fmla="*/ 0 h 3133618"/>
                    <a:gd name="connsiteX1" fmla="*/ 10274 w 123290"/>
                    <a:gd name="connsiteY1" fmla="*/ 246580 h 3133618"/>
                    <a:gd name="connsiteX2" fmla="*/ 20548 w 123290"/>
                    <a:gd name="connsiteY2" fmla="*/ 297951 h 3133618"/>
                    <a:gd name="connsiteX3" fmla="*/ 41096 w 123290"/>
                    <a:gd name="connsiteY3" fmla="*/ 575353 h 3133618"/>
                    <a:gd name="connsiteX4" fmla="*/ 51370 w 123290"/>
                    <a:gd name="connsiteY4" fmla="*/ 647272 h 3133618"/>
                    <a:gd name="connsiteX5" fmla="*/ 61645 w 123290"/>
                    <a:gd name="connsiteY5" fmla="*/ 678094 h 3133618"/>
                    <a:gd name="connsiteX6" fmla="*/ 51370 w 123290"/>
                    <a:gd name="connsiteY6" fmla="*/ 770562 h 3133618"/>
                    <a:gd name="connsiteX7" fmla="*/ 61645 w 123290"/>
                    <a:gd name="connsiteY7" fmla="*/ 1325366 h 3133618"/>
                    <a:gd name="connsiteX8" fmla="*/ 71919 w 123290"/>
                    <a:gd name="connsiteY8" fmla="*/ 1376737 h 3133618"/>
                    <a:gd name="connsiteX9" fmla="*/ 82193 w 123290"/>
                    <a:gd name="connsiteY9" fmla="*/ 1479479 h 3133618"/>
                    <a:gd name="connsiteX10" fmla="*/ 102741 w 123290"/>
                    <a:gd name="connsiteY10" fmla="*/ 1561672 h 3133618"/>
                    <a:gd name="connsiteX11" fmla="*/ 123290 w 123290"/>
                    <a:gd name="connsiteY11" fmla="*/ 1684962 h 3133618"/>
                    <a:gd name="connsiteX12" fmla="*/ 113015 w 123290"/>
                    <a:gd name="connsiteY12" fmla="*/ 2024009 h 3133618"/>
                    <a:gd name="connsiteX13" fmla="*/ 102741 w 123290"/>
                    <a:gd name="connsiteY13" fmla="*/ 2178121 h 3133618"/>
                    <a:gd name="connsiteX14" fmla="*/ 92467 w 123290"/>
                    <a:gd name="connsiteY14" fmla="*/ 2876764 h 3133618"/>
                    <a:gd name="connsiteX15" fmla="*/ 82193 w 123290"/>
                    <a:gd name="connsiteY15" fmla="*/ 2907587 h 3133618"/>
                    <a:gd name="connsiteX16" fmla="*/ 71919 w 123290"/>
                    <a:gd name="connsiteY16" fmla="*/ 2948683 h 3133618"/>
                    <a:gd name="connsiteX17" fmla="*/ 61645 w 123290"/>
                    <a:gd name="connsiteY17" fmla="*/ 3133618 h 3133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23290" h="3133618">
                      <a:moveTo>
                        <a:pt x="0" y="0"/>
                      </a:moveTo>
                      <a:cubicBezTo>
                        <a:pt x="3425" y="82193"/>
                        <a:pt x="4614" y="164510"/>
                        <a:pt x="10274" y="246580"/>
                      </a:cubicBezTo>
                      <a:cubicBezTo>
                        <a:pt x="11475" y="264001"/>
                        <a:pt x="19347" y="280530"/>
                        <a:pt x="20548" y="297951"/>
                      </a:cubicBezTo>
                      <a:cubicBezTo>
                        <a:pt x="40133" y="581931"/>
                        <a:pt x="3642" y="462988"/>
                        <a:pt x="41096" y="575353"/>
                      </a:cubicBezTo>
                      <a:cubicBezTo>
                        <a:pt x="44521" y="599326"/>
                        <a:pt x="46621" y="623526"/>
                        <a:pt x="51370" y="647272"/>
                      </a:cubicBezTo>
                      <a:cubicBezTo>
                        <a:pt x="53494" y="657892"/>
                        <a:pt x="61645" y="667264"/>
                        <a:pt x="61645" y="678094"/>
                      </a:cubicBezTo>
                      <a:cubicBezTo>
                        <a:pt x="61645" y="709106"/>
                        <a:pt x="54795" y="739739"/>
                        <a:pt x="51370" y="770562"/>
                      </a:cubicBezTo>
                      <a:cubicBezTo>
                        <a:pt x="54795" y="955497"/>
                        <a:pt x="55378" y="1140506"/>
                        <a:pt x="61645" y="1325366"/>
                      </a:cubicBezTo>
                      <a:cubicBezTo>
                        <a:pt x="62237" y="1342819"/>
                        <a:pt x="69611" y="1359427"/>
                        <a:pt x="71919" y="1376737"/>
                      </a:cubicBezTo>
                      <a:cubicBezTo>
                        <a:pt x="76468" y="1410853"/>
                        <a:pt x="77644" y="1445363"/>
                        <a:pt x="82193" y="1479479"/>
                      </a:cubicBezTo>
                      <a:cubicBezTo>
                        <a:pt x="102566" y="1632278"/>
                        <a:pt x="81999" y="1457964"/>
                        <a:pt x="102741" y="1561672"/>
                      </a:cubicBezTo>
                      <a:cubicBezTo>
                        <a:pt x="110912" y="1602526"/>
                        <a:pt x="123290" y="1684962"/>
                        <a:pt x="123290" y="1684962"/>
                      </a:cubicBezTo>
                      <a:cubicBezTo>
                        <a:pt x="119865" y="1797978"/>
                        <a:pt x="117722" y="1911039"/>
                        <a:pt x="113015" y="2024009"/>
                      </a:cubicBezTo>
                      <a:cubicBezTo>
                        <a:pt x="110872" y="2075449"/>
                        <a:pt x="103981" y="2126651"/>
                        <a:pt x="102741" y="2178121"/>
                      </a:cubicBezTo>
                      <a:cubicBezTo>
                        <a:pt x="97131" y="2410960"/>
                        <a:pt x="99025" y="2643950"/>
                        <a:pt x="92467" y="2876764"/>
                      </a:cubicBezTo>
                      <a:cubicBezTo>
                        <a:pt x="92162" y="2887590"/>
                        <a:pt x="85168" y="2897174"/>
                        <a:pt x="82193" y="2907587"/>
                      </a:cubicBezTo>
                      <a:cubicBezTo>
                        <a:pt x="78314" y="2921164"/>
                        <a:pt x="75344" y="2934984"/>
                        <a:pt x="71919" y="2948683"/>
                      </a:cubicBezTo>
                      <a:lnTo>
                        <a:pt x="61645" y="3133618"/>
                      </a:lnTo>
                    </a:path>
                  </a:pathLst>
                </a:custGeom>
                <a:noFill/>
                <a:ln w="57150">
                  <a:solidFill>
                    <a:srgbClr val="FFFF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>
                    <a:solidFill>
                      <a:srgbClr val="FFFFFF"/>
                    </a:solidFill>
                  </a:endParaRPr>
                </a:p>
              </p:txBody>
            </p:sp>
          </p:grpSp>
          <p:pic>
            <p:nvPicPr>
              <p:cNvPr id="59394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81575" y="3500437"/>
                <a:ext cx="1868835" cy="87853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36000" y="6546850"/>
            <a:ext cx="508000" cy="152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4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19" name="Freeform 18"/>
          <p:cNvSpPr/>
          <p:nvPr/>
        </p:nvSpPr>
        <p:spPr>
          <a:xfrm>
            <a:off x="1688123" y="2079882"/>
            <a:ext cx="67934" cy="3748035"/>
          </a:xfrm>
          <a:custGeom>
            <a:avLst/>
            <a:gdLst>
              <a:gd name="connsiteX0" fmla="*/ 0 w 67934"/>
              <a:gd name="connsiteY0" fmla="*/ 3748035 h 3748035"/>
              <a:gd name="connsiteX1" fmla="*/ 10048 w 67934"/>
              <a:gd name="connsiteY1" fmla="*/ 3114989 h 3748035"/>
              <a:gd name="connsiteX2" fmla="*/ 20097 w 67934"/>
              <a:gd name="connsiteY2" fmla="*/ 3024553 h 3748035"/>
              <a:gd name="connsiteX3" fmla="*/ 30145 w 67934"/>
              <a:gd name="connsiteY3" fmla="*/ 2823586 h 3748035"/>
              <a:gd name="connsiteX4" fmla="*/ 50242 w 67934"/>
              <a:gd name="connsiteY4" fmla="*/ 2743200 h 3748035"/>
              <a:gd name="connsiteX5" fmla="*/ 50242 w 67934"/>
              <a:gd name="connsiteY5" fmla="*/ 1617784 h 3748035"/>
              <a:gd name="connsiteX6" fmla="*/ 30145 w 67934"/>
              <a:gd name="connsiteY6" fmla="*/ 1024931 h 3748035"/>
              <a:gd name="connsiteX7" fmla="*/ 40193 w 67934"/>
              <a:gd name="connsiteY7" fmla="*/ 562707 h 3748035"/>
              <a:gd name="connsiteX8" fmla="*/ 30145 w 67934"/>
              <a:gd name="connsiteY8" fmla="*/ 140676 h 3748035"/>
              <a:gd name="connsiteX9" fmla="*/ 30145 w 67934"/>
              <a:gd name="connsiteY9" fmla="*/ 0 h 3748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7934" h="3748035">
                <a:moveTo>
                  <a:pt x="0" y="3748035"/>
                </a:moveTo>
                <a:cubicBezTo>
                  <a:pt x="3349" y="3537020"/>
                  <a:pt x="4188" y="3325950"/>
                  <a:pt x="10048" y="3114989"/>
                </a:cubicBezTo>
                <a:cubicBezTo>
                  <a:pt x="10890" y="3084670"/>
                  <a:pt x="18010" y="3054812"/>
                  <a:pt x="20097" y="3024553"/>
                </a:cubicBezTo>
                <a:cubicBezTo>
                  <a:pt x="24712" y="2957639"/>
                  <a:pt x="23000" y="2890277"/>
                  <a:pt x="30145" y="2823586"/>
                </a:cubicBezTo>
                <a:cubicBezTo>
                  <a:pt x="33087" y="2796123"/>
                  <a:pt x="50242" y="2743200"/>
                  <a:pt x="50242" y="2743200"/>
                </a:cubicBezTo>
                <a:cubicBezTo>
                  <a:pt x="79187" y="2280057"/>
                  <a:pt x="67799" y="2524914"/>
                  <a:pt x="50242" y="1617784"/>
                </a:cubicBezTo>
                <a:cubicBezTo>
                  <a:pt x="46416" y="1420090"/>
                  <a:pt x="30145" y="1024931"/>
                  <a:pt x="30145" y="1024931"/>
                </a:cubicBezTo>
                <a:cubicBezTo>
                  <a:pt x="33494" y="870856"/>
                  <a:pt x="40193" y="716818"/>
                  <a:pt x="40193" y="562707"/>
                </a:cubicBezTo>
                <a:cubicBezTo>
                  <a:pt x="40193" y="421990"/>
                  <a:pt x="32657" y="281370"/>
                  <a:pt x="30145" y="140676"/>
                </a:cubicBezTo>
                <a:cubicBezTo>
                  <a:pt x="29308" y="93791"/>
                  <a:pt x="30145" y="46892"/>
                  <a:pt x="30145" y="0"/>
                </a:cubicBezTo>
              </a:path>
            </a:pathLst>
          </a:cu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1688123" y="5743133"/>
            <a:ext cx="5325627" cy="45719"/>
          </a:xfrm>
          <a:custGeom>
            <a:avLst/>
            <a:gdLst>
              <a:gd name="connsiteX0" fmla="*/ 0 w 1919236"/>
              <a:gd name="connsiteY0" fmla="*/ 30145 h 30145"/>
              <a:gd name="connsiteX1" fmla="*/ 452176 w 1919236"/>
              <a:gd name="connsiteY1" fmla="*/ 20097 h 30145"/>
              <a:gd name="connsiteX2" fmla="*/ 622998 w 1919236"/>
              <a:gd name="connsiteY2" fmla="*/ 30145 h 30145"/>
              <a:gd name="connsiteX3" fmla="*/ 733530 w 1919236"/>
              <a:gd name="connsiteY3" fmla="*/ 20097 h 30145"/>
              <a:gd name="connsiteX4" fmla="*/ 803869 w 1919236"/>
              <a:gd name="connsiteY4" fmla="*/ 10048 h 30145"/>
              <a:gd name="connsiteX5" fmla="*/ 884255 w 1919236"/>
              <a:gd name="connsiteY5" fmla="*/ 0 h 30145"/>
              <a:gd name="connsiteX6" fmla="*/ 1818752 w 1919236"/>
              <a:gd name="connsiteY6" fmla="*/ 10048 h 30145"/>
              <a:gd name="connsiteX7" fmla="*/ 1848897 w 1919236"/>
              <a:gd name="connsiteY7" fmla="*/ 20097 h 30145"/>
              <a:gd name="connsiteX8" fmla="*/ 1919236 w 1919236"/>
              <a:gd name="connsiteY8" fmla="*/ 20097 h 30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9236" h="30145">
                <a:moveTo>
                  <a:pt x="0" y="30145"/>
                </a:moveTo>
                <a:cubicBezTo>
                  <a:pt x="150725" y="26796"/>
                  <a:pt x="301413" y="20097"/>
                  <a:pt x="452176" y="20097"/>
                </a:cubicBezTo>
                <a:cubicBezTo>
                  <a:pt x="509215" y="20097"/>
                  <a:pt x="565959" y="30145"/>
                  <a:pt x="622998" y="30145"/>
                </a:cubicBezTo>
                <a:cubicBezTo>
                  <a:pt x="659994" y="30145"/>
                  <a:pt x="696760" y="24183"/>
                  <a:pt x="733530" y="20097"/>
                </a:cubicBezTo>
                <a:cubicBezTo>
                  <a:pt x="757070" y="17481"/>
                  <a:pt x="780392" y="13178"/>
                  <a:pt x="803869" y="10048"/>
                </a:cubicBezTo>
                <a:lnTo>
                  <a:pt x="884255" y="0"/>
                </a:lnTo>
                <a:lnTo>
                  <a:pt x="1818752" y="10048"/>
                </a:lnTo>
                <a:cubicBezTo>
                  <a:pt x="1829342" y="10269"/>
                  <a:pt x="1838358" y="19043"/>
                  <a:pt x="1848897" y="20097"/>
                </a:cubicBezTo>
                <a:cubicBezTo>
                  <a:pt x="1872227" y="22430"/>
                  <a:pt x="1895790" y="20097"/>
                  <a:pt x="1919236" y="20097"/>
                </a:cubicBezTo>
              </a:path>
            </a:pathLst>
          </a:cu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Freeform 20"/>
          <p:cNvSpPr/>
          <p:nvPr/>
        </p:nvSpPr>
        <p:spPr>
          <a:xfrm>
            <a:off x="1728316" y="2079882"/>
            <a:ext cx="190946" cy="311498"/>
          </a:xfrm>
          <a:custGeom>
            <a:avLst/>
            <a:gdLst>
              <a:gd name="connsiteX0" fmla="*/ 0 w 190946"/>
              <a:gd name="connsiteY0" fmla="*/ 0 h 311498"/>
              <a:gd name="connsiteX1" fmla="*/ 90436 w 190946"/>
              <a:gd name="connsiteY1" fmla="*/ 80386 h 311498"/>
              <a:gd name="connsiteX2" fmla="*/ 110532 w 190946"/>
              <a:gd name="connsiteY2" fmla="*/ 110531 h 311498"/>
              <a:gd name="connsiteX3" fmla="*/ 130629 w 190946"/>
              <a:gd name="connsiteY3" fmla="*/ 140676 h 311498"/>
              <a:gd name="connsiteX4" fmla="*/ 140677 w 190946"/>
              <a:gd name="connsiteY4" fmla="*/ 180870 h 311498"/>
              <a:gd name="connsiteX5" fmla="*/ 160774 w 190946"/>
              <a:gd name="connsiteY5" fmla="*/ 211015 h 311498"/>
              <a:gd name="connsiteX6" fmla="*/ 180871 w 190946"/>
              <a:gd name="connsiteY6" fmla="*/ 271305 h 311498"/>
              <a:gd name="connsiteX7" fmla="*/ 190919 w 190946"/>
              <a:gd name="connsiteY7" fmla="*/ 311498 h 311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946" h="311498">
                <a:moveTo>
                  <a:pt x="0" y="0"/>
                </a:moveTo>
                <a:cubicBezTo>
                  <a:pt x="72667" y="29066"/>
                  <a:pt x="40238" y="5089"/>
                  <a:pt x="90436" y="80386"/>
                </a:cubicBezTo>
                <a:lnTo>
                  <a:pt x="110532" y="110531"/>
                </a:lnTo>
                <a:lnTo>
                  <a:pt x="130629" y="140676"/>
                </a:lnTo>
                <a:cubicBezTo>
                  <a:pt x="133978" y="154074"/>
                  <a:pt x="135237" y="168176"/>
                  <a:pt x="140677" y="180870"/>
                </a:cubicBezTo>
                <a:cubicBezTo>
                  <a:pt x="145434" y="191970"/>
                  <a:pt x="155869" y="199979"/>
                  <a:pt x="160774" y="211015"/>
                </a:cubicBezTo>
                <a:cubicBezTo>
                  <a:pt x="169378" y="230373"/>
                  <a:pt x="174172" y="251208"/>
                  <a:pt x="180871" y="271305"/>
                </a:cubicBezTo>
                <a:cubicBezTo>
                  <a:pt x="191978" y="304626"/>
                  <a:pt x="190919" y="290859"/>
                  <a:pt x="190919" y="311498"/>
                </a:cubicBezTo>
              </a:path>
            </a:pathLst>
          </a:cu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1497204" y="2099978"/>
            <a:ext cx="190919" cy="281354"/>
          </a:xfrm>
          <a:custGeom>
            <a:avLst/>
            <a:gdLst>
              <a:gd name="connsiteX0" fmla="*/ 0 w 190919"/>
              <a:gd name="connsiteY0" fmla="*/ 281354 h 281354"/>
              <a:gd name="connsiteX1" fmla="*/ 10049 w 190919"/>
              <a:gd name="connsiteY1" fmla="*/ 231112 h 281354"/>
              <a:gd name="connsiteX2" fmla="*/ 40194 w 190919"/>
              <a:gd name="connsiteY2" fmla="*/ 211016 h 281354"/>
              <a:gd name="connsiteX3" fmla="*/ 50242 w 190919"/>
              <a:gd name="connsiteY3" fmla="*/ 180871 h 281354"/>
              <a:gd name="connsiteX4" fmla="*/ 80387 w 190919"/>
              <a:gd name="connsiteY4" fmla="*/ 150725 h 281354"/>
              <a:gd name="connsiteX5" fmla="*/ 120581 w 190919"/>
              <a:gd name="connsiteY5" fmla="*/ 90435 h 281354"/>
              <a:gd name="connsiteX6" fmla="*/ 180871 w 190919"/>
              <a:gd name="connsiteY6" fmla="*/ 30145 h 281354"/>
              <a:gd name="connsiteX7" fmla="*/ 190919 w 190919"/>
              <a:gd name="connsiteY7" fmla="*/ 0 h 281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919" h="281354">
                <a:moveTo>
                  <a:pt x="0" y="281354"/>
                </a:moveTo>
                <a:cubicBezTo>
                  <a:pt x="3350" y="264607"/>
                  <a:pt x="1575" y="245941"/>
                  <a:pt x="10049" y="231112"/>
                </a:cubicBezTo>
                <a:cubicBezTo>
                  <a:pt x="16041" y="220627"/>
                  <a:pt x="32650" y="220446"/>
                  <a:pt x="40194" y="211016"/>
                </a:cubicBezTo>
                <a:cubicBezTo>
                  <a:pt x="46811" y="202745"/>
                  <a:pt x="44367" y="189684"/>
                  <a:pt x="50242" y="180871"/>
                </a:cubicBezTo>
                <a:cubicBezTo>
                  <a:pt x="58125" y="169047"/>
                  <a:pt x="71662" y="161942"/>
                  <a:pt x="80387" y="150725"/>
                </a:cubicBezTo>
                <a:cubicBezTo>
                  <a:pt x="95216" y="131660"/>
                  <a:pt x="103502" y="107514"/>
                  <a:pt x="120581" y="90435"/>
                </a:cubicBezTo>
                <a:lnTo>
                  <a:pt x="180871" y="30145"/>
                </a:lnTo>
                <a:lnTo>
                  <a:pt x="190919" y="0"/>
                </a:lnTo>
              </a:path>
            </a:pathLst>
          </a:cu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23" name="Freeform 22"/>
          <p:cNvSpPr/>
          <p:nvPr/>
        </p:nvSpPr>
        <p:spPr>
          <a:xfrm>
            <a:off x="6692204" y="5526464"/>
            <a:ext cx="371789" cy="241161"/>
          </a:xfrm>
          <a:custGeom>
            <a:avLst/>
            <a:gdLst>
              <a:gd name="connsiteX0" fmla="*/ 0 w 371789"/>
              <a:gd name="connsiteY0" fmla="*/ 0 h 241161"/>
              <a:gd name="connsiteX1" fmla="*/ 100483 w 371789"/>
              <a:gd name="connsiteY1" fmla="*/ 50242 h 241161"/>
              <a:gd name="connsiteX2" fmla="*/ 180870 w 371789"/>
              <a:gd name="connsiteY2" fmla="*/ 100484 h 241161"/>
              <a:gd name="connsiteX3" fmla="*/ 281354 w 371789"/>
              <a:gd name="connsiteY3" fmla="*/ 160774 h 241161"/>
              <a:gd name="connsiteX4" fmla="*/ 341644 w 371789"/>
              <a:gd name="connsiteY4" fmla="*/ 200967 h 241161"/>
              <a:gd name="connsiteX5" fmla="*/ 371789 w 371789"/>
              <a:gd name="connsiteY5" fmla="*/ 221064 h 241161"/>
              <a:gd name="connsiteX6" fmla="*/ 371789 w 371789"/>
              <a:gd name="connsiteY6" fmla="*/ 241161 h 241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1789" h="241161">
                <a:moveTo>
                  <a:pt x="0" y="0"/>
                </a:moveTo>
                <a:cubicBezTo>
                  <a:pt x="33494" y="16747"/>
                  <a:pt x="67441" y="32619"/>
                  <a:pt x="100483" y="50242"/>
                </a:cubicBezTo>
                <a:cubicBezTo>
                  <a:pt x="242632" y="126055"/>
                  <a:pt x="84047" y="45156"/>
                  <a:pt x="180870" y="100484"/>
                </a:cubicBezTo>
                <a:cubicBezTo>
                  <a:pt x="289017" y="162283"/>
                  <a:pt x="133865" y="62448"/>
                  <a:pt x="281354" y="160774"/>
                </a:cubicBezTo>
                <a:lnTo>
                  <a:pt x="341644" y="200967"/>
                </a:lnTo>
                <a:cubicBezTo>
                  <a:pt x="351692" y="207666"/>
                  <a:pt x="371789" y="208987"/>
                  <a:pt x="371789" y="221064"/>
                </a:cubicBezTo>
                <a:lnTo>
                  <a:pt x="371789" y="241161"/>
                </a:lnTo>
              </a:path>
            </a:pathLst>
          </a:cu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24" name="Freeform 23"/>
          <p:cNvSpPr/>
          <p:nvPr/>
        </p:nvSpPr>
        <p:spPr>
          <a:xfrm>
            <a:off x="6702252" y="5757580"/>
            <a:ext cx="351693" cy="221063"/>
          </a:xfrm>
          <a:custGeom>
            <a:avLst/>
            <a:gdLst>
              <a:gd name="connsiteX0" fmla="*/ 0 w 351693"/>
              <a:gd name="connsiteY0" fmla="*/ 221063 h 221063"/>
              <a:gd name="connsiteX1" fmla="*/ 50242 w 351693"/>
              <a:gd name="connsiteY1" fmla="*/ 190918 h 221063"/>
              <a:gd name="connsiteX2" fmla="*/ 100484 w 351693"/>
              <a:gd name="connsiteY2" fmla="*/ 170822 h 221063"/>
              <a:gd name="connsiteX3" fmla="*/ 130629 w 351693"/>
              <a:gd name="connsiteY3" fmla="*/ 160773 h 221063"/>
              <a:gd name="connsiteX4" fmla="*/ 160774 w 351693"/>
              <a:gd name="connsiteY4" fmla="*/ 140677 h 221063"/>
              <a:gd name="connsiteX5" fmla="*/ 200967 w 351693"/>
              <a:gd name="connsiteY5" fmla="*/ 120580 h 221063"/>
              <a:gd name="connsiteX6" fmla="*/ 261257 w 351693"/>
              <a:gd name="connsiteY6" fmla="*/ 90435 h 221063"/>
              <a:gd name="connsiteX7" fmla="*/ 291403 w 351693"/>
              <a:gd name="connsiteY7" fmla="*/ 70338 h 221063"/>
              <a:gd name="connsiteX8" fmla="*/ 321548 w 351693"/>
              <a:gd name="connsiteY8" fmla="*/ 60290 h 221063"/>
              <a:gd name="connsiteX9" fmla="*/ 341644 w 351693"/>
              <a:gd name="connsiteY9" fmla="*/ 30145 h 221063"/>
              <a:gd name="connsiteX10" fmla="*/ 351693 w 351693"/>
              <a:gd name="connsiteY10" fmla="*/ 0 h 221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1693" h="221063">
                <a:moveTo>
                  <a:pt x="0" y="221063"/>
                </a:moveTo>
                <a:cubicBezTo>
                  <a:pt x="16747" y="211015"/>
                  <a:pt x="32773" y="199652"/>
                  <a:pt x="50242" y="190918"/>
                </a:cubicBezTo>
                <a:cubicBezTo>
                  <a:pt x="66375" y="182852"/>
                  <a:pt x="83595" y="177155"/>
                  <a:pt x="100484" y="170822"/>
                </a:cubicBezTo>
                <a:cubicBezTo>
                  <a:pt x="110402" y="167103"/>
                  <a:pt x="121155" y="165510"/>
                  <a:pt x="130629" y="160773"/>
                </a:cubicBezTo>
                <a:cubicBezTo>
                  <a:pt x="141431" y="155372"/>
                  <a:pt x="150289" y="146669"/>
                  <a:pt x="160774" y="140677"/>
                </a:cubicBezTo>
                <a:cubicBezTo>
                  <a:pt x="173780" y="133245"/>
                  <a:pt x="187962" y="128012"/>
                  <a:pt x="200967" y="120580"/>
                </a:cubicBezTo>
                <a:cubicBezTo>
                  <a:pt x="255506" y="89414"/>
                  <a:pt x="205989" y="108857"/>
                  <a:pt x="261257" y="90435"/>
                </a:cubicBezTo>
                <a:cubicBezTo>
                  <a:pt x="271306" y="83736"/>
                  <a:pt x="280601" y="75739"/>
                  <a:pt x="291403" y="70338"/>
                </a:cubicBezTo>
                <a:cubicBezTo>
                  <a:pt x="300877" y="65601"/>
                  <a:pt x="313277" y="66907"/>
                  <a:pt x="321548" y="60290"/>
                </a:cubicBezTo>
                <a:cubicBezTo>
                  <a:pt x="330978" y="52746"/>
                  <a:pt x="336243" y="40947"/>
                  <a:pt x="341644" y="30145"/>
                </a:cubicBezTo>
                <a:cubicBezTo>
                  <a:pt x="346381" y="20671"/>
                  <a:pt x="351693" y="0"/>
                  <a:pt x="351693" y="0"/>
                </a:cubicBezTo>
              </a:path>
            </a:pathLst>
          </a:cu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221488" y="1556792"/>
            <a:ext cx="2276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2400" dirty="0" smtClean="0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Value Released</a:t>
            </a:r>
            <a:endParaRPr lang="en-GB" sz="24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005513" y="6062400"/>
            <a:ext cx="87716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2400" dirty="0" smtClean="0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Time</a:t>
            </a:r>
            <a:endParaRPr lang="en-GB" sz="24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1807752" y="2493683"/>
            <a:ext cx="6345657" cy="2881324"/>
            <a:chOff x="1674190" y="1971296"/>
            <a:chExt cx="6345657" cy="2881324"/>
          </a:xfrm>
        </p:grpSpPr>
        <p:pic>
          <p:nvPicPr>
            <p:cNvPr id="16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1674190" y="1971296"/>
              <a:ext cx="1473823" cy="21605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13657" y="2047026"/>
              <a:ext cx="1606190" cy="18926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8" name="Group 17"/>
            <p:cNvGrpSpPr/>
            <p:nvPr/>
          </p:nvGrpSpPr>
          <p:grpSpPr>
            <a:xfrm>
              <a:off x="3148014" y="2846717"/>
              <a:ext cx="3321798" cy="552090"/>
              <a:chOff x="1932317" y="2846717"/>
              <a:chExt cx="4934309" cy="552090"/>
            </a:xfrm>
          </p:grpSpPr>
          <p:sp>
            <p:nvSpPr>
              <p:cNvPr id="30" name="Freeform 29"/>
              <p:cNvSpPr/>
              <p:nvPr/>
            </p:nvSpPr>
            <p:spPr>
              <a:xfrm>
                <a:off x="1932317" y="3015506"/>
                <a:ext cx="4882551" cy="130545"/>
              </a:xfrm>
              <a:custGeom>
                <a:avLst/>
                <a:gdLst>
                  <a:gd name="connsiteX0" fmla="*/ 0 w 4882551"/>
                  <a:gd name="connsiteY0" fmla="*/ 51758 h 261091"/>
                  <a:gd name="connsiteX1" fmla="*/ 241540 w 4882551"/>
                  <a:gd name="connsiteY1" fmla="*/ 34506 h 261091"/>
                  <a:gd name="connsiteX2" fmla="*/ 448574 w 4882551"/>
                  <a:gd name="connsiteY2" fmla="*/ 0 h 261091"/>
                  <a:gd name="connsiteX3" fmla="*/ 1224951 w 4882551"/>
                  <a:gd name="connsiteY3" fmla="*/ 17253 h 261091"/>
                  <a:gd name="connsiteX4" fmla="*/ 1276709 w 4882551"/>
                  <a:gd name="connsiteY4" fmla="*/ 34506 h 261091"/>
                  <a:gd name="connsiteX5" fmla="*/ 2260121 w 4882551"/>
                  <a:gd name="connsiteY5" fmla="*/ 51758 h 261091"/>
                  <a:gd name="connsiteX6" fmla="*/ 2536166 w 4882551"/>
                  <a:gd name="connsiteY6" fmla="*/ 86264 h 261091"/>
                  <a:gd name="connsiteX7" fmla="*/ 2622430 w 4882551"/>
                  <a:gd name="connsiteY7" fmla="*/ 103517 h 261091"/>
                  <a:gd name="connsiteX8" fmla="*/ 3450566 w 4882551"/>
                  <a:gd name="connsiteY8" fmla="*/ 120770 h 261091"/>
                  <a:gd name="connsiteX9" fmla="*/ 4019909 w 4882551"/>
                  <a:gd name="connsiteY9" fmla="*/ 155275 h 261091"/>
                  <a:gd name="connsiteX10" fmla="*/ 4071668 w 4882551"/>
                  <a:gd name="connsiteY10" fmla="*/ 189781 h 261091"/>
                  <a:gd name="connsiteX11" fmla="*/ 4226943 w 4882551"/>
                  <a:gd name="connsiteY11" fmla="*/ 207034 h 261091"/>
                  <a:gd name="connsiteX12" fmla="*/ 4364966 w 4882551"/>
                  <a:gd name="connsiteY12" fmla="*/ 241540 h 261091"/>
                  <a:gd name="connsiteX13" fmla="*/ 4416725 w 4882551"/>
                  <a:gd name="connsiteY13" fmla="*/ 258792 h 261091"/>
                  <a:gd name="connsiteX14" fmla="*/ 4882551 w 4882551"/>
                  <a:gd name="connsiteY14" fmla="*/ 258792 h 261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882551" h="261091">
                    <a:moveTo>
                      <a:pt x="0" y="51758"/>
                    </a:moveTo>
                    <a:lnTo>
                      <a:pt x="241540" y="34506"/>
                    </a:lnTo>
                    <a:cubicBezTo>
                      <a:pt x="397893" y="20910"/>
                      <a:pt x="353346" y="31743"/>
                      <a:pt x="448574" y="0"/>
                    </a:cubicBezTo>
                    <a:lnTo>
                      <a:pt x="1224951" y="17253"/>
                    </a:lnTo>
                    <a:cubicBezTo>
                      <a:pt x="1243121" y="18010"/>
                      <a:pt x="1258533" y="33900"/>
                      <a:pt x="1276709" y="34506"/>
                    </a:cubicBezTo>
                    <a:cubicBezTo>
                      <a:pt x="1604381" y="45428"/>
                      <a:pt x="1932317" y="46007"/>
                      <a:pt x="2260121" y="51758"/>
                    </a:cubicBezTo>
                    <a:cubicBezTo>
                      <a:pt x="2546141" y="99428"/>
                      <a:pt x="2121492" y="30973"/>
                      <a:pt x="2536166" y="86264"/>
                    </a:cubicBezTo>
                    <a:cubicBezTo>
                      <a:pt x="2565233" y="90140"/>
                      <a:pt x="2593127" y="102411"/>
                      <a:pt x="2622430" y="103517"/>
                    </a:cubicBezTo>
                    <a:cubicBezTo>
                      <a:pt x="2898339" y="113929"/>
                      <a:pt x="3174521" y="115019"/>
                      <a:pt x="3450566" y="120770"/>
                    </a:cubicBezTo>
                    <a:cubicBezTo>
                      <a:pt x="3709714" y="185558"/>
                      <a:pt x="3297113" y="87514"/>
                      <a:pt x="4019909" y="155275"/>
                    </a:cubicBezTo>
                    <a:cubicBezTo>
                      <a:pt x="4040554" y="157210"/>
                      <a:pt x="4051552" y="184752"/>
                      <a:pt x="4071668" y="189781"/>
                    </a:cubicBezTo>
                    <a:cubicBezTo>
                      <a:pt x="4122190" y="202412"/>
                      <a:pt x="4175185" y="201283"/>
                      <a:pt x="4226943" y="207034"/>
                    </a:cubicBezTo>
                    <a:cubicBezTo>
                      <a:pt x="4272951" y="218536"/>
                      <a:pt x="4319976" y="226544"/>
                      <a:pt x="4364966" y="241540"/>
                    </a:cubicBezTo>
                    <a:cubicBezTo>
                      <a:pt x="4382219" y="247291"/>
                      <a:pt x="4398549" y="258186"/>
                      <a:pt x="4416725" y="258792"/>
                    </a:cubicBezTo>
                    <a:cubicBezTo>
                      <a:pt x="4571914" y="263965"/>
                      <a:pt x="4727276" y="258792"/>
                      <a:pt x="4882551" y="258792"/>
                    </a:cubicBezTo>
                  </a:path>
                </a:pathLst>
              </a:custGeom>
              <a:no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Freeform 30"/>
              <p:cNvSpPr/>
              <p:nvPr/>
            </p:nvSpPr>
            <p:spPr>
              <a:xfrm>
                <a:off x="6435306" y="2846717"/>
                <a:ext cx="431320" cy="293298"/>
              </a:xfrm>
              <a:custGeom>
                <a:avLst/>
                <a:gdLst>
                  <a:gd name="connsiteX0" fmla="*/ 431320 w 431320"/>
                  <a:gd name="connsiteY0" fmla="*/ 293298 h 293298"/>
                  <a:gd name="connsiteX1" fmla="*/ 345056 w 431320"/>
                  <a:gd name="connsiteY1" fmla="*/ 276045 h 293298"/>
                  <a:gd name="connsiteX2" fmla="*/ 293298 w 431320"/>
                  <a:gd name="connsiteY2" fmla="*/ 241540 h 293298"/>
                  <a:gd name="connsiteX3" fmla="*/ 241539 w 431320"/>
                  <a:gd name="connsiteY3" fmla="*/ 224287 h 293298"/>
                  <a:gd name="connsiteX4" fmla="*/ 172528 w 431320"/>
                  <a:gd name="connsiteY4" fmla="*/ 172528 h 293298"/>
                  <a:gd name="connsiteX5" fmla="*/ 103517 w 431320"/>
                  <a:gd name="connsiteY5" fmla="*/ 103517 h 293298"/>
                  <a:gd name="connsiteX6" fmla="*/ 69011 w 431320"/>
                  <a:gd name="connsiteY6" fmla="*/ 51758 h 293298"/>
                  <a:gd name="connsiteX7" fmla="*/ 17252 w 431320"/>
                  <a:gd name="connsiteY7" fmla="*/ 17253 h 293298"/>
                  <a:gd name="connsiteX8" fmla="*/ 0 w 431320"/>
                  <a:gd name="connsiteY8" fmla="*/ 0 h 293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1320" h="293298">
                    <a:moveTo>
                      <a:pt x="431320" y="293298"/>
                    </a:moveTo>
                    <a:cubicBezTo>
                      <a:pt x="402565" y="287547"/>
                      <a:pt x="372513" y="286341"/>
                      <a:pt x="345056" y="276045"/>
                    </a:cubicBezTo>
                    <a:cubicBezTo>
                      <a:pt x="325641" y="268764"/>
                      <a:pt x="311844" y="250813"/>
                      <a:pt x="293298" y="241540"/>
                    </a:cubicBezTo>
                    <a:cubicBezTo>
                      <a:pt x="277032" y="233407"/>
                      <a:pt x="258792" y="230038"/>
                      <a:pt x="241539" y="224287"/>
                    </a:cubicBezTo>
                    <a:cubicBezTo>
                      <a:pt x="218535" y="207034"/>
                      <a:pt x="190936" y="194618"/>
                      <a:pt x="172528" y="172528"/>
                    </a:cubicBezTo>
                    <a:cubicBezTo>
                      <a:pt x="101748" y="87592"/>
                      <a:pt x="220304" y="142447"/>
                      <a:pt x="103517" y="103517"/>
                    </a:cubicBezTo>
                    <a:cubicBezTo>
                      <a:pt x="92015" y="86264"/>
                      <a:pt x="83673" y="66420"/>
                      <a:pt x="69011" y="51758"/>
                    </a:cubicBezTo>
                    <a:cubicBezTo>
                      <a:pt x="54349" y="37096"/>
                      <a:pt x="33840" y="29694"/>
                      <a:pt x="17252" y="17253"/>
                    </a:cubicBezTo>
                    <a:cubicBezTo>
                      <a:pt x="10746" y="12373"/>
                      <a:pt x="5751" y="5751"/>
                      <a:pt x="0" y="0"/>
                    </a:cubicBezTo>
                  </a:path>
                </a:pathLst>
              </a:custGeom>
              <a:no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Freeform 31"/>
              <p:cNvSpPr/>
              <p:nvPr/>
            </p:nvSpPr>
            <p:spPr>
              <a:xfrm>
                <a:off x="6504317" y="3157267"/>
                <a:ext cx="327804" cy="241540"/>
              </a:xfrm>
              <a:custGeom>
                <a:avLst/>
                <a:gdLst>
                  <a:gd name="connsiteX0" fmla="*/ 327804 w 327804"/>
                  <a:gd name="connsiteY0" fmla="*/ 0 h 241540"/>
                  <a:gd name="connsiteX1" fmla="*/ 189781 w 327804"/>
                  <a:gd name="connsiteY1" fmla="*/ 86264 h 241540"/>
                  <a:gd name="connsiteX2" fmla="*/ 86264 w 327804"/>
                  <a:gd name="connsiteY2" fmla="*/ 155276 h 241540"/>
                  <a:gd name="connsiteX3" fmla="*/ 51758 w 327804"/>
                  <a:gd name="connsiteY3" fmla="*/ 207034 h 241540"/>
                  <a:gd name="connsiteX4" fmla="*/ 0 w 327804"/>
                  <a:gd name="connsiteY4" fmla="*/ 241540 h 241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7804" h="241540">
                    <a:moveTo>
                      <a:pt x="327804" y="0"/>
                    </a:moveTo>
                    <a:cubicBezTo>
                      <a:pt x="315793" y="7206"/>
                      <a:pt x="212533" y="67304"/>
                      <a:pt x="189781" y="86264"/>
                    </a:cubicBezTo>
                    <a:cubicBezTo>
                      <a:pt x="103622" y="158063"/>
                      <a:pt x="177227" y="124955"/>
                      <a:pt x="86264" y="155276"/>
                    </a:cubicBezTo>
                    <a:cubicBezTo>
                      <a:pt x="74762" y="172529"/>
                      <a:pt x="66420" y="192372"/>
                      <a:pt x="51758" y="207034"/>
                    </a:cubicBezTo>
                    <a:cubicBezTo>
                      <a:pt x="37096" y="221696"/>
                      <a:pt x="0" y="241540"/>
                      <a:pt x="0" y="241540"/>
                    </a:cubicBezTo>
                  </a:path>
                </a:pathLst>
              </a:custGeom>
              <a:no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27" name="Title 3"/>
            <p:cNvSpPr txBox="1">
              <a:spLocks/>
            </p:cNvSpPr>
            <p:nvPr/>
          </p:nvSpPr>
          <p:spPr>
            <a:xfrm>
              <a:off x="3000340" y="2311032"/>
              <a:ext cx="3618797" cy="708212"/>
            </a:xfrm>
            <a:prstGeom prst="rect">
              <a:avLst/>
            </a:prstGeom>
            <a:noFill/>
            <a:effectLst>
              <a:softEdge rad="317500"/>
            </a:effectLst>
          </p:spPr>
          <p:txBody>
            <a:bodyPr anchor="t">
              <a:normAutofit/>
            </a:bodyPr>
            <a:lstStyle>
              <a:lvl1pPr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lang="en-AU" sz="2300" kern="1200" spc="0" baseline="0" dirty="0" smtClean="0">
                  <a:solidFill>
                    <a:schemeClr val="tx1"/>
                  </a:solidFill>
                  <a:latin typeface="+mj-lt"/>
                  <a:ea typeface="Arial" pitchFamily="-105" charset="-52"/>
                  <a:cs typeface="Arial" pitchFamily="34" charset="0"/>
                </a:defRPr>
              </a:lvl1pPr>
              <a:lvl2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2pPr>
              <a:lvl3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3pPr>
              <a:lvl4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4pPr>
              <a:lvl5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9pPr>
            </a:lstStyle>
            <a:p>
              <a:r>
                <a:rPr lang="en-GB" sz="4000" b="1">
                  <a:solidFill>
                    <a:srgbClr val="FFFFFF"/>
                  </a:solidFill>
                  <a:latin typeface="MV Boli" panose="02000500030200090000" pitchFamily="2" charset="0"/>
                  <a:cs typeface="MV Boli" panose="02000500030200090000" pitchFamily="2" charset="0"/>
                </a:rPr>
                <a:t>Value Stream</a:t>
              </a:r>
              <a:endParaRPr lang="en-GB" sz="2600" b="1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endParaRPr>
            </a:p>
          </p:txBody>
        </p:sp>
        <p:sp>
          <p:nvSpPr>
            <p:cNvPr id="28" name="Title 3"/>
            <p:cNvSpPr txBox="1">
              <a:spLocks/>
            </p:cNvSpPr>
            <p:nvPr/>
          </p:nvSpPr>
          <p:spPr>
            <a:xfrm>
              <a:off x="1674191" y="4092649"/>
              <a:ext cx="1534074" cy="708212"/>
            </a:xfrm>
            <a:prstGeom prst="rect">
              <a:avLst/>
            </a:prstGeom>
            <a:noFill/>
            <a:effectLst>
              <a:softEdge rad="317500"/>
            </a:effectLst>
          </p:spPr>
          <p:txBody>
            <a:bodyPr anchor="t">
              <a:normAutofit/>
            </a:bodyPr>
            <a:lstStyle>
              <a:lvl1pPr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lang="en-AU" sz="2300" kern="1200" spc="0" baseline="0" dirty="0" smtClean="0">
                  <a:solidFill>
                    <a:schemeClr val="tx1"/>
                  </a:solidFill>
                  <a:latin typeface="+mj-lt"/>
                  <a:ea typeface="Arial" pitchFamily="-105" charset="-52"/>
                  <a:cs typeface="Arial" pitchFamily="34" charset="0"/>
                </a:defRPr>
              </a:lvl1pPr>
              <a:lvl2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2pPr>
              <a:lvl3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3pPr>
              <a:lvl4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4pPr>
              <a:lvl5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9pPr>
            </a:lstStyle>
            <a:p>
              <a:r>
                <a:rPr lang="en-GB" sz="4000" b="1">
                  <a:solidFill>
                    <a:srgbClr val="FFFFFF"/>
                  </a:solidFill>
                  <a:latin typeface="MV Boli" panose="02000500030200090000" pitchFamily="2" charset="0"/>
                  <a:cs typeface="MV Boli" panose="02000500030200090000" pitchFamily="2" charset="0"/>
                </a:rPr>
                <a:t>Idea</a:t>
              </a:r>
              <a:endParaRPr lang="en-GB" sz="2600" b="1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endParaRPr>
            </a:p>
          </p:txBody>
        </p:sp>
        <p:sp>
          <p:nvSpPr>
            <p:cNvPr id="29" name="Title 3"/>
            <p:cNvSpPr txBox="1">
              <a:spLocks/>
            </p:cNvSpPr>
            <p:nvPr/>
          </p:nvSpPr>
          <p:spPr>
            <a:xfrm>
              <a:off x="6485773" y="4144408"/>
              <a:ext cx="1534074" cy="708212"/>
            </a:xfrm>
            <a:prstGeom prst="rect">
              <a:avLst/>
            </a:prstGeom>
            <a:noFill/>
            <a:effectLst>
              <a:softEdge rad="317500"/>
            </a:effectLst>
          </p:spPr>
          <p:txBody>
            <a:bodyPr anchor="t">
              <a:normAutofit/>
            </a:bodyPr>
            <a:lstStyle>
              <a:lvl1pPr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lang="en-AU" sz="2300" kern="1200" spc="0" baseline="0" dirty="0" smtClean="0">
                  <a:solidFill>
                    <a:schemeClr val="tx1"/>
                  </a:solidFill>
                  <a:latin typeface="+mj-lt"/>
                  <a:ea typeface="Arial" pitchFamily="-105" charset="-52"/>
                  <a:cs typeface="Arial" pitchFamily="34" charset="0"/>
                </a:defRPr>
              </a:lvl1pPr>
              <a:lvl2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2pPr>
              <a:lvl3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3pPr>
              <a:lvl4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4pPr>
              <a:lvl5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9pPr>
            </a:lstStyle>
            <a:p>
              <a:r>
                <a:rPr lang="en-GB" sz="4000" b="1">
                  <a:solidFill>
                    <a:srgbClr val="FFFFFF"/>
                  </a:solidFill>
                  <a:latin typeface="MV Boli" panose="02000500030200090000" pitchFamily="2" charset="0"/>
                  <a:cs typeface="MV Boli" panose="02000500030200090000" pitchFamily="2" charset="0"/>
                </a:rPr>
                <a:t>Value</a:t>
              </a:r>
              <a:endParaRPr lang="en-GB" sz="2600" b="1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2079133" y="2932553"/>
            <a:ext cx="2356735" cy="1697007"/>
            <a:chOff x="3498073" y="1874122"/>
            <a:chExt cx="2356735" cy="1697007"/>
          </a:xfrm>
        </p:grpSpPr>
        <p:grpSp>
          <p:nvGrpSpPr>
            <p:cNvPr id="8" name="Group 7"/>
            <p:cNvGrpSpPr/>
            <p:nvPr/>
          </p:nvGrpSpPr>
          <p:grpSpPr>
            <a:xfrm rot="20700000">
              <a:off x="3863939" y="2415601"/>
              <a:ext cx="1220157" cy="1155528"/>
              <a:chOff x="6165675" y="903323"/>
              <a:chExt cx="1220157" cy="1155528"/>
            </a:xfrm>
          </p:grpSpPr>
          <p:grpSp>
            <p:nvGrpSpPr>
              <p:cNvPr id="53" name="Group 52"/>
              <p:cNvGrpSpPr/>
              <p:nvPr/>
            </p:nvGrpSpPr>
            <p:grpSpPr>
              <a:xfrm>
                <a:off x="6344331" y="903323"/>
                <a:ext cx="1041501" cy="262163"/>
                <a:chOff x="3139709" y="1254265"/>
                <a:chExt cx="3536220" cy="890124"/>
              </a:xfrm>
            </p:grpSpPr>
            <p:sp>
              <p:nvSpPr>
                <p:cNvPr id="54" name="Freeform 53"/>
                <p:cNvSpPr/>
                <p:nvPr/>
              </p:nvSpPr>
              <p:spPr>
                <a:xfrm>
                  <a:off x="3139709" y="1254265"/>
                  <a:ext cx="3452837" cy="857756"/>
                </a:xfrm>
                <a:custGeom>
                  <a:avLst/>
                  <a:gdLst>
                    <a:gd name="connsiteX0" fmla="*/ 0 w 3188262"/>
                    <a:gd name="connsiteY0" fmla="*/ 801112 h 857756"/>
                    <a:gd name="connsiteX1" fmla="*/ 32368 w 3188262"/>
                    <a:gd name="connsiteY1" fmla="*/ 760652 h 857756"/>
                    <a:gd name="connsiteX2" fmla="*/ 56644 w 3188262"/>
                    <a:gd name="connsiteY2" fmla="*/ 744468 h 857756"/>
                    <a:gd name="connsiteX3" fmla="*/ 89012 w 3188262"/>
                    <a:gd name="connsiteY3" fmla="*/ 712100 h 857756"/>
                    <a:gd name="connsiteX4" fmla="*/ 105196 w 3188262"/>
                    <a:gd name="connsiteY4" fmla="*/ 687823 h 857756"/>
                    <a:gd name="connsiteX5" fmla="*/ 153748 w 3188262"/>
                    <a:gd name="connsiteY5" fmla="*/ 647363 h 857756"/>
                    <a:gd name="connsiteX6" fmla="*/ 169932 w 3188262"/>
                    <a:gd name="connsiteY6" fmla="*/ 623087 h 857756"/>
                    <a:gd name="connsiteX7" fmla="*/ 218485 w 3188262"/>
                    <a:gd name="connsiteY7" fmla="*/ 590719 h 857756"/>
                    <a:gd name="connsiteX8" fmla="*/ 242761 w 3188262"/>
                    <a:gd name="connsiteY8" fmla="*/ 574535 h 857756"/>
                    <a:gd name="connsiteX9" fmla="*/ 258945 w 3188262"/>
                    <a:gd name="connsiteY9" fmla="*/ 550259 h 857756"/>
                    <a:gd name="connsiteX10" fmla="*/ 307497 w 3188262"/>
                    <a:gd name="connsiteY10" fmla="*/ 525983 h 857756"/>
                    <a:gd name="connsiteX11" fmla="*/ 364141 w 3188262"/>
                    <a:gd name="connsiteY11" fmla="*/ 477431 h 857756"/>
                    <a:gd name="connsiteX12" fmla="*/ 412694 w 3188262"/>
                    <a:gd name="connsiteY12" fmla="*/ 445062 h 857756"/>
                    <a:gd name="connsiteX13" fmla="*/ 428878 w 3188262"/>
                    <a:gd name="connsiteY13" fmla="*/ 420786 h 857756"/>
                    <a:gd name="connsiteX14" fmla="*/ 477430 w 3188262"/>
                    <a:gd name="connsiteY14" fmla="*/ 396510 h 857756"/>
                    <a:gd name="connsiteX15" fmla="*/ 574534 w 3188262"/>
                    <a:gd name="connsiteY15" fmla="*/ 315590 h 857756"/>
                    <a:gd name="connsiteX16" fmla="*/ 598810 w 3188262"/>
                    <a:gd name="connsiteY16" fmla="*/ 299406 h 857756"/>
                    <a:gd name="connsiteX17" fmla="*/ 639271 w 3188262"/>
                    <a:gd name="connsiteY17" fmla="*/ 267038 h 857756"/>
                    <a:gd name="connsiteX18" fmla="*/ 704007 w 3188262"/>
                    <a:gd name="connsiteY18" fmla="*/ 250854 h 857756"/>
                    <a:gd name="connsiteX19" fmla="*/ 728283 w 3188262"/>
                    <a:gd name="connsiteY19" fmla="*/ 234670 h 857756"/>
                    <a:gd name="connsiteX20" fmla="*/ 752559 w 3188262"/>
                    <a:gd name="connsiteY20" fmla="*/ 226577 h 857756"/>
                    <a:gd name="connsiteX21" fmla="*/ 784927 w 3188262"/>
                    <a:gd name="connsiteY21" fmla="*/ 218485 h 857756"/>
                    <a:gd name="connsiteX22" fmla="*/ 865848 w 3188262"/>
                    <a:gd name="connsiteY22" fmla="*/ 202301 h 857756"/>
                    <a:gd name="connsiteX23" fmla="*/ 914400 w 3188262"/>
                    <a:gd name="connsiteY23" fmla="*/ 186117 h 857756"/>
                    <a:gd name="connsiteX24" fmla="*/ 971044 w 3188262"/>
                    <a:gd name="connsiteY24" fmla="*/ 161841 h 857756"/>
                    <a:gd name="connsiteX25" fmla="*/ 1003412 w 3188262"/>
                    <a:gd name="connsiteY25" fmla="*/ 145657 h 857756"/>
                    <a:gd name="connsiteX26" fmla="*/ 1060056 w 3188262"/>
                    <a:gd name="connsiteY26" fmla="*/ 129473 h 857756"/>
                    <a:gd name="connsiteX27" fmla="*/ 1132885 w 3188262"/>
                    <a:gd name="connsiteY27" fmla="*/ 105197 h 857756"/>
                    <a:gd name="connsiteX28" fmla="*/ 1181437 w 3188262"/>
                    <a:gd name="connsiteY28" fmla="*/ 89013 h 857756"/>
                    <a:gd name="connsiteX29" fmla="*/ 1205713 w 3188262"/>
                    <a:gd name="connsiteY29" fmla="*/ 80921 h 857756"/>
                    <a:gd name="connsiteX30" fmla="*/ 1238081 w 3188262"/>
                    <a:gd name="connsiteY30" fmla="*/ 72829 h 857756"/>
                    <a:gd name="connsiteX31" fmla="*/ 1351370 w 3188262"/>
                    <a:gd name="connsiteY31" fmla="*/ 56645 h 857756"/>
                    <a:gd name="connsiteX32" fmla="*/ 1383738 w 3188262"/>
                    <a:gd name="connsiteY32" fmla="*/ 40461 h 857756"/>
                    <a:gd name="connsiteX33" fmla="*/ 1408014 w 3188262"/>
                    <a:gd name="connsiteY33" fmla="*/ 24277 h 857756"/>
                    <a:gd name="connsiteX34" fmla="*/ 1488934 w 3188262"/>
                    <a:gd name="connsiteY34" fmla="*/ 16185 h 857756"/>
                    <a:gd name="connsiteX35" fmla="*/ 1545578 w 3188262"/>
                    <a:gd name="connsiteY35" fmla="*/ 0 h 857756"/>
                    <a:gd name="connsiteX36" fmla="*/ 1723603 w 3188262"/>
                    <a:gd name="connsiteY36" fmla="*/ 8093 h 857756"/>
                    <a:gd name="connsiteX37" fmla="*/ 1764063 w 3188262"/>
                    <a:gd name="connsiteY37" fmla="*/ 16185 h 857756"/>
                    <a:gd name="connsiteX38" fmla="*/ 1828800 w 3188262"/>
                    <a:gd name="connsiteY38" fmla="*/ 32369 h 857756"/>
                    <a:gd name="connsiteX39" fmla="*/ 1901628 w 3188262"/>
                    <a:gd name="connsiteY39" fmla="*/ 48553 h 857756"/>
                    <a:gd name="connsiteX40" fmla="*/ 1942088 w 3188262"/>
                    <a:gd name="connsiteY40" fmla="*/ 56645 h 857756"/>
                    <a:gd name="connsiteX41" fmla="*/ 2103929 w 3188262"/>
                    <a:gd name="connsiteY41" fmla="*/ 80921 h 857756"/>
                    <a:gd name="connsiteX42" fmla="*/ 2128205 w 3188262"/>
                    <a:gd name="connsiteY42" fmla="*/ 89013 h 857756"/>
                    <a:gd name="connsiteX43" fmla="*/ 2192941 w 3188262"/>
                    <a:gd name="connsiteY43" fmla="*/ 105197 h 857756"/>
                    <a:gd name="connsiteX44" fmla="*/ 2225309 w 3188262"/>
                    <a:gd name="connsiteY44" fmla="*/ 113289 h 857756"/>
                    <a:gd name="connsiteX45" fmla="*/ 2249586 w 3188262"/>
                    <a:gd name="connsiteY45" fmla="*/ 121381 h 857756"/>
                    <a:gd name="connsiteX46" fmla="*/ 2314322 w 3188262"/>
                    <a:gd name="connsiteY46" fmla="*/ 137565 h 857756"/>
                    <a:gd name="connsiteX47" fmla="*/ 2338598 w 3188262"/>
                    <a:gd name="connsiteY47" fmla="*/ 145657 h 857756"/>
                    <a:gd name="connsiteX48" fmla="*/ 2362874 w 3188262"/>
                    <a:gd name="connsiteY48" fmla="*/ 161841 h 857756"/>
                    <a:gd name="connsiteX49" fmla="*/ 2419518 w 3188262"/>
                    <a:gd name="connsiteY49" fmla="*/ 178025 h 857756"/>
                    <a:gd name="connsiteX50" fmla="*/ 2500439 w 3188262"/>
                    <a:gd name="connsiteY50" fmla="*/ 210393 h 857756"/>
                    <a:gd name="connsiteX51" fmla="*/ 2524715 w 3188262"/>
                    <a:gd name="connsiteY51" fmla="*/ 226577 h 857756"/>
                    <a:gd name="connsiteX52" fmla="*/ 2557083 w 3188262"/>
                    <a:gd name="connsiteY52" fmla="*/ 234670 h 857756"/>
                    <a:gd name="connsiteX53" fmla="*/ 2605635 w 3188262"/>
                    <a:gd name="connsiteY53" fmla="*/ 250854 h 857756"/>
                    <a:gd name="connsiteX54" fmla="*/ 2629911 w 3188262"/>
                    <a:gd name="connsiteY54" fmla="*/ 258946 h 857756"/>
                    <a:gd name="connsiteX55" fmla="*/ 2678463 w 3188262"/>
                    <a:gd name="connsiteY55" fmla="*/ 267038 h 857756"/>
                    <a:gd name="connsiteX56" fmla="*/ 2727016 w 3188262"/>
                    <a:gd name="connsiteY56" fmla="*/ 299406 h 857756"/>
                    <a:gd name="connsiteX57" fmla="*/ 2751292 w 3188262"/>
                    <a:gd name="connsiteY57" fmla="*/ 315590 h 857756"/>
                    <a:gd name="connsiteX58" fmla="*/ 2775568 w 3188262"/>
                    <a:gd name="connsiteY58" fmla="*/ 323682 h 857756"/>
                    <a:gd name="connsiteX59" fmla="*/ 2799844 w 3188262"/>
                    <a:gd name="connsiteY59" fmla="*/ 347958 h 857756"/>
                    <a:gd name="connsiteX60" fmla="*/ 2856488 w 3188262"/>
                    <a:gd name="connsiteY60" fmla="*/ 372234 h 857756"/>
                    <a:gd name="connsiteX61" fmla="*/ 2872672 w 3188262"/>
                    <a:gd name="connsiteY61" fmla="*/ 396510 h 857756"/>
                    <a:gd name="connsiteX62" fmla="*/ 2905040 w 3188262"/>
                    <a:gd name="connsiteY62" fmla="*/ 404602 h 857756"/>
                    <a:gd name="connsiteX63" fmla="*/ 2937409 w 3188262"/>
                    <a:gd name="connsiteY63" fmla="*/ 453154 h 857756"/>
                    <a:gd name="connsiteX64" fmla="*/ 2977869 w 3188262"/>
                    <a:gd name="connsiteY64" fmla="*/ 501707 h 857756"/>
                    <a:gd name="connsiteX65" fmla="*/ 3002145 w 3188262"/>
                    <a:gd name="connsiteY65" fmla="*/ 525983 h 857756"/>
                    <a:gd name="connsiteX66" fmla="*/ 3018329 w 3188262"/>
                    <a:gd name="connsiteY66" fmla="*/ 550259 h 857756"/>
                    <a:gd name="connsiteX67" fmla="*/ 3034513 w 3188262"/>
                    <a:gd name="connsiteY67" fmla="*/ 598811 h 857756"/>
                    <a:gd name="connsiteX68" fmla="*/ 3058789 w 3188262"/>
                    <a:gd name="connsiteY68" fmla="*/ 623087 h 857756"/>
                    <a:gd name="connsiteX69" fmla="*/ 3083065 w 3188262"/>
                    <a:gd name="connsiteY69" fmla="*/ 679731 h 857756"/>
                    <a:gd name="connsiteX70" fmla="*/ 3099249 w 3188262"/>
                    <a:gd name="connsiteY70" fmla="*/ 728284 h 857756"/>
                    <a:gd name="connsiteX71" fmla="*/ 3139709 w 3188262"/>
                    <a:gd name="connsiteY71" fmla="*/ 784928 h 857756"/>
                    <a:gd name="connsiteX72" fmla="*/ 3155894 w 3188262"/>
                    <a:gd name="connsiteY72" fmla="*/ 801112 h 857756"/>
                    <a:gd name="connsiteX73" fmla="*/ 3172078 w 3188262"/>
                    <a:gd name="connsiteY73" fmla="*/ 825388 h 857756"/>
                    <a:gd name="connsiteX74" fmla="*/ 3188262 w 3188262"/>
                    <a:gd name="connsiteY74" fmla="*/ 857756 h 857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</a:cxnLst>
                  <a:rect l="l" t="t" r="r" b="b"/>
                  <a:pathLst>
                    <a:path w="3188262" h="857756">
                      <a:moveTo>
                        <a:pt x="0" y="801112"/>
                      </a:moveTo>
                      <a:cubicBezTo>
                        <a:pt x="10789" y="787625"/>
                        <a:pt x="20155" y="772865"/>
                        <a:pt x="32368" y="760652"/>
                      </a:cubicBezTo>
                      <a:cubicBezTo>
                        <a:pt x="39245" y="753775"/>
                        <a:pt x="50569" y="752062"/>
                        <a:pt x="56644" y="744468"/>
                      </a:cubicBezTo>
                      <a:cubicBezTo>
                        <a:pt x="88031" y="705234"/>
                        <a:pt x="36046" y="729755"/>
                        <a:pt x="89012" y="712100"/>
                      </a:cubicBezTo>
                      <a:cubicBezTo>
                        <a:pt x="94407" y="704008"/>
                        <a:pt x="98319" y="694700"/>
                        <a:pt x="105196" y="687823"/>
                      </a:cubicBezTo>
                      <a:cubicBezTo>
                        <a:pt x="168857" y="624161"/>
                        <a:pt x="87456" y="726914"/>
                        <a:pt x="153748" y="647363"/>
                      </a:cubicBezTo>
                      <a:cubicBezTo>
                        <a:pt x="159974" y="639892"/>
                        <a:pt x="162613" y="629491"/>
                        <a:pt x="169932" y="623087"/>
                      </a:cubicBezTo>
                      <a:cubicBezTo>
                        <a:pt x="184570" y="610279"/>
                        <a:pt x="202301" y="601508"/>
                        <a:pt x="218485" y="590719"/>
                      </a:cubicBezTo>
                      <a:lnTo>
                        <a:pt x="242761" y="574535"/>
                      </a:lnTo>
                      <a:cubicBezTo>
                        <a:pt x="248156" y="566443"/>
                        <a:pt x="251351" y="556334"/>
                        <a:pt x="258945" y="550259"/>
                      </a:cubicBezTo>
                      <a:cubicBezTo>
                        <a:pt x="324759" y="497608"/>
                        <a:pt x="239283" y="594197"/>
                        <a:pt x="307497" y="525983"/>
                      </a:cubicBezTo>
                      <a:cubicBezTo>
                        <a:pt x="377692" y="455788"/>
                        <a:pt x="285113" y="524848"/>
                        <a:pt x="364141" y="477431"/>
                      </a:cubicBezTo>
                      <a:cubicBezTo>
                        <a:pt x="380820" y="467423"/>
                        <a:pt x="412694" y="445062"/>
                        <a:pt x="412694" y="445062"/>
                      </a:cubicBezTo>
                      <a:cubicBezTo>
                        <a:pt x="418089" y="436970"/>
                        <a:pt x="422001" y="427663"/>
                        <a:pt x="428878" y="420786"/>
                      </a:cubicBezTo>
                      <a:cubicBezTo>
                        <a:pt x="444565" y="405099"/>
                        <a:pt x="457686" y="403091"/>
                        <a:pt x="477430" y="396510"/>
                      </a:cubicBezTo>
                      <a:cubicBezTo>
                        <a:pt x="539736" y="334204"/>
                        <a:pt x="506938" y="360654"/>
                        <a:pt x="574534" y="315590"/>
                      </a:cubicBezTo>
                      <a:lnTo>
                        <a:pt x="598810" y="299406"/>
                      </a:lnTo>
                      <a:cubicBezTo>
                        <a:pt x="617840" y="270862"/>
                        <a:pt x="607422" y="275724"/>
                        <a:pt x="639271" y="267038"/>
                      </a:cubicBezTo>
                      <a:cubicBezTo>
                        <a:pt x="660730" y="261186"/>
                        <a:pt x="704007" y="250854"/>
                        <a:pt x="704007" y="250854"/>
                      </a:cubicBezTo>
                      <a:cubicBezTo>
                        <a:pt x="712099" y="245459"/>
                        <a:pt x="719584" y="239019"/>
                        <a:pt x="728283" y="234670"/>
                      </a:cubicBezTo>
                      <a:cubicBezTo>
                        <a:pt x="735912" y="230855"/>
                        <a:pt x="744357" y="228920"/>
                        <a:pt x="752559" y="226577"/>
                      </a:cubicBezTo>
                      <a:cubicBezTo>
                        <a:pt x="763252" y="223522"/>
                        <a:pt x="774052" y="220815"/>
                        <a:pt x="784927" y="218485"/>
                      </a:cubicBezTo>
                      <a:cubicBezTo>
                        <a:pt x="811824" y="212721"/>
                        <a:pt x="839752" y="211000"/>
                        <a:pt x="865848" y="202301"/>
                      </a:cubicBezTo>
                      <a:cubicBezTo>
                        <a:pt x="882032" y="196906"/>
                        <a:pt x="899142" y="193746"/>
                        <a:pt x="914400" y="186117"/>
                      </a:cubicBezTo>
                      <a:cubicBezTo>
                        <a:pt x="1021751" y="132441"/>
                        <a:pt x="887698" y="197561"/>
                        <a:pt x="971044" y="161841"/>
                      </a:cubicBezTo>
                      <a:cubicBezTo>
                        <a:pt x="982132" y="157089"/>
                        <a:pt x="992324" y="150409"/>
                        <a:pt x="1003412" y="145657"/>
                      </a:cubicBezTo>
                      <a:cubicBezTo>
                        <a:pt x="1019664" y="138692"/>
                        <a:pt x="1043631" y="133579"/>
                        <a:pt x="1060056" y="129473"/>
                      </a:cubicBezTo>
                      <a:cubicBezTo>
                        <a:pt x="1104877" y="99592"/>
                        <a:pt x="1063110" y="122641"/>
                        <a:pt x="1132885" y="105197"/>
                      </a:cubicBezTo>
                      <a:cubicBezTo>
                        <a:pt x="1149435" y="101060"/>
                        <a:pt x="1165253" y="94408"/>
                        <a:pt x="1181437" y="89013"/>
                      </a:cubicBezTo>
                      <a:cubicBezTo>
                        <a:pt x="1189529" y="86316"/>
                        <a:pt x="1197438" y="82990"/>
                        <a:pt x="1205713" y="80921"/>
                      </a:cubicBezTo>
                      <a:cubicBezTo>
                        <a:pt x="1216502" y="78224"/>
                        <a:pt x="1227089" y="74520"/>
                        <a:pt x="1238081" y="72829"/>
                      </a:cubicBezTo>
                      <a:cubicBezTo>
                        <a:pt x="1404678" y="47199"/>
                        <a:pt x="1241854" y="78548"/>
                        <a:pt x="1351370" y="56645"/>
                      </a:cubicBezTo>
                      <a:cubicBezTo>
                        <a:pt x="1362159" y="51250"/>
                        <a:pt x="1373265" y="46446"/>
                        <a:pt x="1383738" y="40461"/>
                      </a:cubicBezTo>
                      <a:cubicBezTo>
                        <a:pt x="1392182" y="35636"/>
                        <a:pt x="1398538" y="26464"/>
                        <a:pt x="1408014" y="24277"/>
                      </a:cubicBezTo>
                      <a:cubicBezTo>
                        <a:pt x="1434428" y="18182"/>
                        <a:pt x="1461961" y="18882"/>
                        <a:pt x="1488934" y="16185"/>
                      </a:cubicBezTo>
                      <a:cubicBezTo>
                        <a:pt x="1500379" y="12370"/>
                        <a:pt x="1535421" y="0"/>
                        <a:pt x="1545578" y="0"/>
                      </a:cubicBezTo>
                      <a:cubicBezTo>
                        <a:pt x="1604981" y="0"/>
                        <a:pt x="1664261" y="5395"/>
                        <a:pt x="1723603" y="8093"/>
                      </a:cubicBezTo>
                      <a:cubicBezTo>
                        <a:pt x="1737090" y="10790"/>
                        <a:pt x="1750661" y="13092"/>
                        <a:pt x="1764063" y="16185"/>
                      </a:cubicBezTo>
                      <a:cubicBezTo>
                        <a:pt x="1785736" y="21187"/>
                        <a:pt x="1806989" y="28007"/>
                        <a:pt x="1828800" y="32369"/>
                      </a:cubicBezTo>
                      <a:cubicBezTo>
                        <a:pt x="1950829" y="56775"/>
                        <a:pt x="1798778" y="25697"/>
                        <a:pt x="1901628" y="48553"/>
                      </a:cubicBezTo>
                      <a:cubicBezTo>
                        <a:pt x="1915054" y="51537"/>
                        <a:pt x="1928601" y="53948"/>
                        <a:pt x="1942088" y="56645"/>
                      </a:cubicBezTo>
                      <a:cubicBezTo>
                        <a:pt x="2006849" y="99819"/>
                        <a:pt x="1945954" y="65124"/>
                        <a:pt x="2103929" y="80921"/>
                      </a:cubicBezTo>
                      <a:cubicBezTo>
                        <a:pt x="2112416" y="81770"/>
                        <a:pt x="2119976" y="86769"/>
                        <a:pt x="2128205" y="89013"/>
                      </a:cubicBezTo>
                      <a:cubicBezTo>
                        <a:pt x="2149664" y="94865"/>
                        <a:pt x="2171362" y="99802"/>
                        <a:pt x="2192941" y="105197"/>
                      </a:cubicBezTo>
                      <a:cubicBezTo>
                        <a:pt x="2203730" y="107894"/>
                        <a:pt x="2214758" y="109772"/>
                        <a:pt x="2225309" y="113289"/>
                      </a:cubicBezTo>
                      <a:cubicBezTo>
                        <a:pt x="2233401" y="115986"/>
                        <a:pt x="2241357" y="119137"/>
                        <a:pt x="2249586" y="121381"/>
                      </a:cubicBezTo>
                      <a:cubicBezTo>
                        <a:pt x="2271045" y="127233"/>
                        <a:pt x="2293221" y="130531"/>
                        <a:pt x="2314322" y="137565"/>
                      </a:cubicBezTo>
                      <a:cubicBezTo>
                        <a:pt x="2322414" y="140262"/>
                        <a:pt x="2330969" y="141842"/>
                        <a:pt x="2338598" y="145657"/>
                      </a:cubicBezTo>
                      <a:cubicBezTo>
                        <a:pt x="2347297" y="150006"/>
                        <a:pt x="2354175" y="157492"/>
                        <a:pt x="2362874" y="161841"/>
                      </a:cubicBezTo>
                      <a:cubicBezTo>
                        <a:pt x="2374483" y="167645"/>
                        <a:pt x="2409147" y="175432"/>
                        <a:pt x="2419518" y="178025"/>
                      </a:cubicBezTo>
                      <a:cubicBezTo>
                        <a:pt x="2485349" y="227399"/>
                        <a:pt x="2413841" y="181527"/>
                        <a:pt x="2500439" y="210393"/>
                      </a:cubicBezTo>
                      <a:cubicBezTo>
                        <a:pt x="2509665" y="213468"/>
                        <a:pt x="2515776" y="222746"/>
                        <a:pt x="2524715" y="226577"/>
                      </a:cubicBezTo>
                      <a:cubicBezTo>
                        <a:pt x="2534937" y="230958"/>
                        <a:pt x="2546431" y="231474"/>
                        <a:pt x="2557083" y="234670"/>
                      </a:cubicBezTo>
                      <a:cubicBezTo>
                        <a:pt x="2573423" y="239572"/>
                        <a:pt x="2589451" y="245459"/>
                        <a:pt x="2605635" y="250854"/>
                      </a:cubicBezTo>
                      <a:cubicBezTo>
                        <a:pt x="2613727" y="253551"/>
                        <a:pt x="2621497" y="257544"/>
                        <a:pt x="2629911" y="258946"/>
                      </a:cubicBezTo>
                      <a:lnTo>
                        <a:pt x="2678463" y="267038"/>
                      </a:lnTo>
                      <a:lnTo>
                        <a:pt x="2727016" y="299406"/>
                      </a:lnTo>
                      <a:cubicBezTo>
                        <a:pt x="2735108" y="304801"/>
                        <a:pt x="2742066" y="312515"/>
                        <a:pt x="2751292" y="315590"/>
                      </a:cubicBezTo>
                      <a:lnTo>
                        <a:pt x="2775568" y="323682"/>
                      </a:lnTo>
                      <a:cubicBezTo>
                        <a:pt x="2783660" y="331774"/>
                        <a:pt x="2790532" y="341306"/>
                        <a:pt x="2799844" y="347958"/>
                      </a:cubicBezTo>
                      <a:cubicBezTo>
                        <a:pt x="2817343" y="360457"/>
                        <a:pt x="2836677" y="365630"/>
                        <a:pt x="2856488" y="372234"/>
                      </a:cubicBezTo>
                      <a:cubicBezTo>
                        <a:pt x="2861883" y="380326"/>
                        <a:pt x="2864580" y="391115"/>
                        <a:pt x="2872672" y="396510"/>
                      </a:cubicBezTo>
                      <a:cubicBezTo>
                        <a:pt x="2881926" y="402679"/>
                        <a:pt x="2896670" y="397279"/>
                        <a:pt x="2905040" y="404602"/>
                      </a:cubicBezTo>
                      <a:cubicBezTo>
                        <a:pt x="2919678" y="417410"/>
                        <a:pt x="2923656" y="439400"/>
                        <a:pt x="2937409" y="453154"/>
                      </a:cubicBezTo>
                      <a:cubicBezTo>
                        <a:pt x="2979458" y="495205"/>
                        <a:pt x="2920151" y="434369"/>
                        <a:pt x="2977869" y="501707"/>
                      </a:cubicBezTo>
                      <a:cubicBezTo>
                        <a:pt x="2985317" y="510396"/>
                        <a:pt x="2994819" y="517192"/>
                        <a:pt x="3002145" y="525983"/>
                      </a:cubicBezTo>
                      <a:cubicBezTo>
                        <a:pt x="3008371" y="533454"/>
                        <a:pt x="3014379" y="541372"/>
                        <a:pt x="3018329" y="550259"/>
                      </a:cubicBezTo>
                      <a:cubicBezTo>
                        <a:pt x="3025257" y="565848"/>
                        <a:pt x="3022450" y="586748"/>
                        <a:pt x="3034513" y="598811"/>
                      </a:cubicBezTo>
                      <a:lnTo>
                        <a:pt x="3058789" y="623087"/>
                      </a:lnTo>
                      <a:cubicBezTo>
                        <a:pt x="3080195" y="708713"/>
                        <a:pt x="3051132" y="607880"/>
                        <a:pt x="3083065" y="679731"/>
                      </a:cubicBezTo>
                      <a:cubicBezTo>
                        <a:pt x="3089994" y="695320"/>
                        <a:pt x="3087186" y="716221"/>
                        <a:pt x="3099249" y="728284"/>
                      </a:cubicBezTo>
                      <a:cubicBezTo>
                        <a:pt x="3152267" y="781302"/>
                        <a:pt x="3097101" y="721019"/>
                        <a:pt x="3139709" y="784928"/>
                      </a:cubicBezTo>
                      <a:cubicBezTo>
                        <a:pt x="3143941" y="791276"/>
                        <a:pt x="3151128" y="795154"/>
                        <a:pt x="3155894" y="801112"/>
                      </a:cubicBezTo>
                      <a:cubicBezTo>
                        <a:pt x="3161970" y="808706"/>
                        <a:pt x="3167729" y="816689"/>
                        <a:pt x="3172078" y="825388"/>
                      </a:cubicBezTo>
                      <a:cubicBezTo>
                        <a:pt x="3190675" y="862581"/>
                        <a:pt x="3169980" y="839474"/>
                        <a:pt x="3188262" y="857756"/>
                      </a:cubicBezTo>
                    </a:path>
                  </a:pathLst>
                </a:custGeom>
                <a:noFill/>
                <a:ln w="762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  <p:sp>
              <p:nvSpPr>
                <p:cNvPr id="55" name="Freeform 54"/>
                <p:cNvSpPr/>
                <p:nvPr/>
              </p:nvSpPr>
              <p:spPr>
                <a:xfrm>
                  <a:off x="6642818" y="1683143"/>
                  <a:ext cx="33111" cy="461246"/>
                </a:xfrm>
                <a:custGeom>
                  <a:avLst/>
                  <a:gdLst>
                    <a:gd name="connsiteX0" fmla="*/ 33111 w 33111"/>
                    <a:gd name="connsiteY0" fmla="*/ 0 h 461246"/>
                    <a:gd name="connsiteX1" fmla="*/ 8835 w 33111"/>
                    <a:gd name="connsiteY1" fmla="*/ 396510 h 461246"/>
                    <a:gd name="connsiteX2" fmla="*/ 743 w 33111"/>
                    <a:gd name="connsiteY2" fmla="*/ 420786 h 461246"/>
                    <a:gd name="connsiteX3" fmla="*/ 743 w 33111"/>
                    <a:gd name="connsiteY3" fmla="*/ 461246 h 4612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3111" h="461246">
                      <a:moveTo>
                        <a:pt x="33111" y="0"/>
                      </a:moveTo>
                      <a:cubicBezTo>
                        <a:pt x="-21008" y="162361"/>
                        <a:pt x="25812" y="6031"/>
                        <a:pt x="8835" y="396510"/>
                      </a:cubicBezTo>
                      <a:cubicBezTo>
                        <a:pt x="8464" y="405032"/>
                        <a:pt x="1801" y="412322"/>
                        <a:pt x="743" y="420786"/>
                      </a:cubicBezTo>
                      <a:cubicBezTo>
                        <a:pt x="-930" y="434169"/>
                        <a:pt x="743" y="447759"/>
                        <a:pt x="743" y="461246"/>
                      </a:cubicBezTo>
                    </a:path>
                  </a:pathLst>
                </a:custGeom>
                <a:noFill/>
                <a:ln w="571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  <p:sp>
              <p:nvSpPr>
                <p:cNvPr id="56" name="Freeform 55"/>
                <p:cNvSpPr/>
                <p:nvPr/>
              </p:nvSpPr>
              <p:spPr>
                <a:xfrm>
                  <a:off x="6255143" y="1958273"/>
                  <a:ext cx="372234" cy="153748"/>
                </a:xfrm>
                <a:custGeom>
                  <a:avLst/>
                  <a:gdLst>
                    <a:gd name="connsiteX0" fmla="*/ 0 w 372234"/>
                    <a:gd name="connsiteY0" fmla="*/ 0 h 153748"/>
                    <a:gd name="connsiteX1" fmla="*/ 40461 w 372234"/>
                    <a:gd name="connsiteY1" fmla="*/ 16184 h 153748"/>
                    <a:gd name="connsiteX2" fmla="*/ 64737 w 372234"/>
                    <a:gd name="connsiteY2" fmla="*/ 24276 h 153748"/>
                    <a:gd name="connsiteX3" fmla="*/ 89013 w 372234"/>
                    <a:gd name="connsiteY3" fmla="*/ 40460 h 153748"/>
                    <a:gd name="connsiteX4" fmla="*/ 121381 w 372234"/>
                    <a:gd name="connsiteY4" fmla="*/ 56644 h 153748"/>
                    <a:gd name="connsiteX5" fmla="*/ 145657 w 372234"/>
                    <a:gd name="connsiteY5" fmla="*/ 72828 h 153748"/>
                    <a:gd name="connsiteX6" fmla="*/ 194209 w 372234"/>
                    <a:gd name="connsiteY6" fmla="*/ 89012 h 153748"/>
                    <a:gd name="connsiteX7" fmla="*/ 242761 w 372234"/>
                    <a:gd name="connsiteY7" fmla="*/ 113288 h 153748"/>
                    <a:gd name="connsiteX8" fmla="*/ 331774 w 372234"/>
                    <a:gd name="connsiteY8" fmla="*/ 121380 h 153748"/>
                    <a:gd name="connsiteX9" fmla="*/ 356050 w 372234"/>
                    <a:gd name="connsiteY9" fmla="*/ 129472 h 153748"/>
                    <a:gd name="connsiteX10" fmla="*/ 372234 w 372234"/>
                    <a:gd name="connsiteY10" fmla="*/ 153748 h 1537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72234" h="153748">
                      <a:moveTo>
                        <a:pt x="0" y="0"/>
                      </a:moveTo>
                      <a:cubicBezTo>
                        <a:pt x="13487" y="5395"/>
                        <a:pt x="26860" y="11084"/>
                        <a:pt x="40461" y="16184"/>
                      </a:cubicBezTo>
                      <a:cubicBezTo>
                        <a:pt x="48448" y="19179"/>
                        <a:pt x="57108" y="20461"/>
                        <a:pt x="64737" y="24276"/>
                      </a:cubicBezTo>
                      <a:cubicBezTo>
                        <a:pt x="73436" y="28625"/>
                        <a:pt x="80569" y="35635"/>
                        <a:pt x="89013" y="40460"/>
                      </a:cubicBezTo>
                      <a:cubicBezTo>
                        <a:pt x="99486" y="46445"/>
                        <a:pt x="110908" y="50659"/>
                        <a:pt x="121381" y="56644"/>
                      </a:cubicBezTo>
                      <a:cubicBezTo>
                        <a:pt x="129825" y="61469"/>
                        <a:pt x="136770" y="68878"/>
                        <a:pt x="145657" y="72828"/>
                      </a:cubicBezTo>
                      <a:cubicBezTo>
                        <a:pt x="161246" y="79756"/>
                        <a:pt x="180015" y="79549"/>
                        <a:pt x="194209" y="89012"/>
                      </a:cubicBezTo>
                      <a:cubicBezTo>
                        <a:pt x="211692" y="100667"/>
                        <a:pt x="221441" y="110242"/>
                        <a:pt x="242761" y="113288"/>
                      </a:cubicBezTo>
                      <a:cubicBezTo>
                        <a:pt x="272255" y="117501"/>
                        <a:pt x="302103" y="118683"/>
                        <a:pt x="331774" y="121380"/>
                      </a:cubicBezTo>
                      <a:cubicBezTo>
                        <a:pt x="339866" y="124077"/>
                        <a:pt x="349389" y="124144"/>
                        <a:pt x="356050" y="129472"/>
                      </a:cubicBezTo>
                      <a:cubicBezTo>
                        <a:pt x="363644" y="135547"/>
                        <a:pt x="372234" y="153748"/>
                        <a:pt x="372234" y="153748"/>
                      </a:cubicBezTo>
                    </a:path>
                  </a:pathLst>
                </a:custGeom>
                <a:noFill/>
                <a:ln w="571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</p:grpSp>
          <p:grpSp>
            <p:nvGrpSpPr>
              <p:cNvPr id="57" name="Group 56"/>
              <p:cNvGrpSpPr/>
              <p:nvPr/>
            </p:nvGrpSpPr>
            <p:grpSpPr>
              <a:xfrm>
                <a:off x="6165675" y="1097562"/>
                <a:ext cx="242602" cy="961289"/>
                <a:chOff x="2219480" y="1913766"/>
                <a:chExt cx="823709" cy="3263876"/>
              </a:xfrm>
            </p:grpSpPr>
            <p:sp>
              <p:nvSpPr>
                <p:cNvPr id="58" name="Freeform 57"/>
                <p:cNvSpPr/>
                <p:nvPr/>
              </p:nvSpPr>
              <p:spPr>
                <a:xfrm>
                  <a:off x="2219480" y="2627937"/>
                  <a:ext cx="209685" cy="1545578"/>
                </a:xfrm>
                <a:custGeom>
                  <a:avLst/>
                  <a:gdLst>
                    <a:gd name="connsiteX0" fmla="*/ 121381 w 202325"/>
                    <a:gd name="connsiteY0" fmla="*/ 1545578 h 1545578"/>
                    <a:gd name="connsiteX1" fmla="*/ 89013 w 202325"/>
                    <a:gd name="connsiteY1" fmla="*/ 1448474 h 1545578"/>
                    <a:gd name="connsiteX2" fmla="*/ 72828 w 202325"/>
                    <a:gd name="connsiteY2" fmla="*/ 1399922 h 1545578"/>
                    <a:gd name="connsiteX3" fmla="*/ 64736 w 202325"/>
                    <a:gd name="connsiteY3" fmla="*/ 1294725 h 1545578"/>
                    <a:gd name="connsiteX4" fmla="*/ 56644 w 202325"/>
                    <a:gd name="connsiteY4" fmla="*/ 1229989 h 1545578"/>
                    <a:gd name="connsiteX5" fmla="*/ 48552 w 202325"/>
                    <a:gd name="connsiteY5" fmla="*/ 1132884 h 1545578"/>
                    <a:gd name="connsiteX6" fmla="*/ 16184 w 202325"/>
                    <a:gd name="connsiteY6" fmla="*/ 1084332 h 1545578"/>
                    <a:gd name="connsiteX7" fmla="*/ 0 w 202325"/>
                    <a:gd name="connsiteY7" fmla="*/ 1027688 h 1545578"/>
                    <a:gd name="connsiteX8" fmla="*/ 8092 w 202325"/>
                    <a:gd name="connsiteY8" fmla="*/ 704007 h 1545578"/>
                    <a:gd name="connsiteX9" fmla="*/ 16184 w 202325"/>
                    <a:gd name="connsiteY9" fmla="*/ 647362 h 1545578"/>
                    <a:gd name="connsiteX10" fmla="*/ 24276 w 202325"/>
                    <a:gd name="connsiteY10" fmla="*/ 574534 h 1545578"/>
                    <a:gd name="connsiteX11" fmla="*/ 48552 w 202325"/>
                    <a:gd name="connsiteY11" fmla="*/ 485522 h 1545578"/>
                    <a:gd name="connsiteX12" fmla="*/ 72828 w 202325"/>
                    <a:gd name="connsiteY12" fmla="*/ 404601 h 1545578"/>
                    <a:gd name="connsiteX13" fmla="*/ 97105 w 202325"/>
                    <a:gd name="connsiteY13" fmla="*/ 331773 h 1545578"/>
                    <a:gd name="connsiteX14" fmla="*/ 105197 w 202325"/>
                    <a:gd name="connsiteY14" fmla="*/ 307497 h 1545578"/>
                    <a:gd name="connsiteX15" fmla="*/ 113289 w 202325"/>
                    <a:gd name="connsiteY15" fmla="*/ 283221 h 1545578"/>
                    <a:gd name="connsiteX16" fmla="*/ 129473 w 202325"/>
                    <a:gd name="connsiteY16" fmla="*/ 258945 h 1545578"/>
                    <a:gd name="connsiteX17" fmla="*/ 137565 w 202325"/>
                    <a:gd name="connsiteY17" fmla="*/ 226576 h 1545578"/>
                    <a:gd name="connsiteX18" fmla="*/ 153749 w 202325"/>
                    <a:gd name="connsiteY18" fmla="*/ 178024 h 1545578"/>
                    <a:gd name="connsiteX19" fmla="*/ 161841 w 202325"/>
                    <a:gd name="connsiteY19" fmla="*/ 153748 h 1545578"/>
                    <a:gd name="connsiteX20" fmla="*/ 194209 w 202325"/>
                    <a:gd name="connsiteY20" fmla="*/ 64736 h 1545578"/>
                    <a:gd name="connsiteX21" fmla="*/ 202301 w 202325"/>
                    <a:gd name="connsiteY21" fmla="*/ 0 h 1545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02325" h="1545578">
                      <a:moveTo>
                        <a:pt x="121381" y="1545578"/>
                      </a:moveTo>
                      <a:cubicBezTo>
                        <a:pt x="77561" y="1457938"/>
                        <a:pt x="111148" y="1537011"/>
                        <a:pt x="89013" y="1448474"/>
                      </a:cubicBezTo>
                      <a:cubicBezTo>
                        <a:pt x="84875" y="1431924"/>
                        <a:pt x="72828" y="1399922"/>
                        <a:pt x="72828" y="1399922"/>
                      </a:cubicBezTo>
                      <a:cubicBezTo>
                        <a:pt x="70131" y="1364856"/>
                        <a:pt x="68070" y="1329736"/>
                        <a:pt x="64736" y="1294725"/>
                      </a:cubicBezTo>
                      <a:cubicBezTo>
                        <a:pt x="62674" y="1273076"/>
                        <a:pt x="58808" y="1251628"/>
                        <a:pt x="56644" y="1229989"/>
                      </a:cubicBezTo>
                      <a:cubicBezTo>
                        <a:pt x="53412" y="1197670"/>
                        <a:pt x="57245" y="1164180"/>
                        <a:pt x="48552" y="1132884"/>
                      </a:cubicBezTo>
                      <a:cubicBezTo>
                        <a:pt x="43346" y="1114143"/>
                        <a:pt x="22335" y="1102785"/>
                        <a:pt x="16184" y="1084332"/>
                      </a:cubicBezTo>
                      <a:cubicBezTo>
                        <a:pt x="4575" y="1049505"/>
                        <a:pt x="10161" y="1068331"/>
                        <a:pt x="0" y="1027688"/>
                      </a:cubicBezTo>
                      <a:cubicBezTo>
                        <a:pt x="2697" y="919794"/>
                        <a:pt x="3504" y="811837"/>
                        <a:pt x="8092" y="704007"/>
                      </a:cubicBezTo>
                      <a:cubicBezTo>
                        <a:pt x="8903" y="684951"/>
                        <a:pt x="13818" y="666288"/>
                        <a:pt x="16184" y="647362"/>
                      </a:cubicBezTo>
                      <a:cubicBezTo>
                        <a:pt x="19214" y="623125"/>
                        <a:pt x="20822" y="598714"/>
                        <a:pt x="24276" y="574534"/>
                      </a:cubicBezTo>
                      <a:cubicBezTo>
                        <a:pt x="33607" y="509215"/>
                        <a:pt x="30631" y="557207"/>
                        <a:pt x="48552" y="485522"/>
                      </a:cubicBezTo>
                      <a:cubicBezTo>
                        <a:pt x="60781" y="436603"/>
                        <a:pt x="53127" y="463704"/>
                        <a:pt x="72828" y="404601"/>
                      </a:cubicBezTo>
                      <a:lnTo>
                        <a:pt x="97105" y="331773"/>
                      </a:lnTo>
                      <a:lnTo>
                        <a:pt x="105197" y="307497"/>
                      </a:lnTo>
                      <a:cubicBezTo>
                        <a:pt x="107894" y="299405"/>
                        <a:pt x="108558" y="290318"/>
                        <a:pt x="113289" y="283221"/>
                      </a:cubicBezTo>
                      <a:lnTo>
                        <a:pt x="129473" y="258945"/>
                      </a:lnTo>
                      <a:cubicBezTo>
                        <a:pt x="132170" y="248155"/>
                        <a:pt x="134369" y="237229"/>
                        <a:pt x="137565" y="226576"/>
                      </a:cubicBezTo>
                      <a:cubicBezTo>
                        <a:pt x="142467" y="210236"/>
                        <a:pt x="148354" y="194208"/>
                        <a:pt x="153749" y="178024"/>
                      </a:cubicBezTo>
                      <a:cubicBezTo>
                        <a:pt x="156446" y="169932"/>
                        <a:pt x="159772" y="162023"/>
                        <a:pt x="161841" y="153748"/>
                      </a:cubicBezTo>
                      <a:cubicBezTo>
                        <a:pt x="180384" y="79577"/>
                        <a:pt x="165687" y="107519"/>
                        <a:pt x="194209" y="64736"/>
                      </a:cubicBezTo>
                      <a:cubicBezTo>
                        <a:pt x="203188" y="10863"/>
                        <a:pt x="202301" y="32591"/>
                        <a:pt x="202301" y="0"/>
                      </a:cubicBezTo>
                    </a:path>
                  </a:pathLst>
                </a:custGeom>
                <a:noFill/>
                <a:ln w="762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  <p:sp>
              <p:nvSpPr>
                <p:cNvPr id="59" name="Freeform 58"/>
                <p:cNvSpPr/>
                <p:nvPr/>
              </p:nvSpPr>
              <p:spPr>
                <a:xfrm>
                  <a:off x="2300572" y="4013860"/>
                  <a:ext cx="742617" cy="1163782"/>
                </a:xfrm>
                <a:custGeom>
                  <a:avLst/>
                  <a:gdLst>
                    <a:gd name="connsiteX0" fmla="*/ 666324 w 666324"/>
                    <a:gd name="connsiteY0" fmla="*/ 1163782 h 1163782"/>
                    <a:gd name="connsiteX1" fmla="*/ 606948 w 666324"/>
                    <a:gd name="connsiteY1" fmla="*/ 1140031 h 1163782"/>
                    <a:gd name="connsiteX2" fmla="*/ 571322 w 666324"/>
                    <a:gd name="connsiteY2" fmla="*/ 1104405 h 1163782"/>
                    <a:gd name="connsiteX3" fmla="*/ 535696 w 666324"/>
                    <a:gd name="connsiteY3" fmla="*/ 1080655 h 1163782"/>
                    <a:gd name="connsiteX4" fmla="*/ 476319 w 666324"/>
                    <a:gd name="connsiteY4" fmla="*/ 1009403 h 1163782"/>
                    <a:gd name="connsiteX5" fmla="*/ 405067 w 666324"/>
                    <a:gd name="connsiteY5" fmla="*/ 902525 h 1163782"/>
                    <a:gd name="connsiteX6" fmla="*/ 345690 w 666324"/>
                    <a:gd name="connsiteY6" fmla="*/ 819397 h 1163782"/>
                    <a:gd name="connsiteX7" fmla="*/ 310064 w 666324"/>
                    <a:gd name="connsiteY7" fmla="*/ 748146 h 1163782"/>
                    <a:gd name="connsiteX8" fmla="*/ 238812 w 666324"/>
                    <a:gd name="connsiteY8" fmla="*/ 629392 h 1163782"/>
                    <a:gd name="connsiteX9" fmla="*/ 215062 w 666324"/>
                    <a:gd name="connsiteY9" fmla="*/ 593766 h 1163782"/>
                    <a:gd name="connsiteX10" fmla="*/ 191311 w 666324"/>
                    <a:gd name="connsiteY10" fmla="*/ 558140 h 1163782"/>
                    <a:gd name="connsiteX11" fmla="*/ 143810 w 666324"/>
                    <a:gd name="connsiteY11" fmla="*/ 475013 h 1163782"/>
                    <a:gd name="connsiteX12" fmla="*/ 131935 w 666324"/>
                    <a:gd name="connsiteY12" fmla="*/ 427512 h 1163782"/>
                    <a:gd name="connsiteX13" fmla="*/ 108184 w 666324"/>
                    <a:gd name="connsiteY13" fmla="*/ 356260 h 1163782"/>
                    <a:gd name="connsiteX14" fmla="*/ 84433 w 666324"/>
                    <a:gd name="connsiteY14" fmla="*/ 285008 h 1163782"/>
                    <a:gd name="connsiteX15" fmla="*/ 48807 w 666324"/>
                    <a:gd name="connsiteY15" fmla="*/ 190005 h 1163782"/>
                    <a:gd name="connsiteX16" fmla="*/ 36932 w 666324"/>
                    <a:gd name="connsiteY16" fmla="*/ 95003 h 1163782"/>
                    <a:gd name="connsiteX17" fmla="*/ 1306 w 666324"/>
                    <a:gd name="connsiteY17" fmla="*/ 23751 h 1163782"/>
                    <a:gd name="connsiteX18" fmla="*/ 1306 w 666324"/>
                    <a:gd name="connsiteY18" fmla="*/ 0 h 1163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666324" h="1163782">
                      <a:moveTo>
                        <a:pt x="666324" y="1163782"/>
                      </a:moveTo>
                      <a:cubicBezTo>
                        <a:pt x="646532" y="1155865"/>
                        <a:pt x="625024" y="1151329"/>
                        <a:pt x="606948" y="1140031"/>
                      </a:cubicBezTo>
                      <a:cubicBezTo>
                        <a:pt x="592707" y="1131130"/>
                        <a:pt x="584224" y="1115156"/>
                        <a:pt x="571322" y="1104405"/>
                      </a:cubicBezTo>
                      <a:cubicBezTo>
                        <a:pt x="560358" y="1095268"/>
                        <a:pt x="547571" y="1088572"/>
                        <a:pt x="535696" y="1080655"/>
                      </a:cubicBezTo>
                      <a:cubicBezTo>
                        <a:pt x="450818" y="953339"/>
                        <a:pt x="583003" y="1146569"/>
                        <a:pt x="476319" y="1009403"/>
                      </a:cubicBezTo>
                      <a:cubicBezTo>
                        <a:pt x="393269" y="902624"/>
                        <a:pt x="458468" y="973727"/>
                        <a:pt x="405067" y="902525"/>
                      </a:cubicBezTo>
                      <a:cubicBezTo>
                        <a:pt x="360878" y="843605"/>
                        <a:pt x="380420" y="871491"/>
                        <a:pt x="345690" y="819397"/>
                      </a:cubicBezTo>
                      <a:cubicBezTo>
                        <a:pt x="323916" y="754075"/>
                        <a:pt x="346899" y="812607"/>
                        <a:pt x="310064" y="748146"/>
                      </a:cubicBezTo>
                      <a:cubicBezTo>
                        <a:pt x="237020" y="620318"/>
                        <a:pt x="355035" y="803726"/>
                        <a:pt x="238812" y="629392"/>
                      </a:cubicBezTo>
                      <a:lnTo>
                        <a:pt x="215062" y="593766"/>
                      </a:lnTo>
                      <a:lnTo>
                        <a:pt x="191311" y="558140"/>
                      </a:lnTo>
                      <a:cubicBezTo>
                        <a:pt x="160084" y="433230"/>
                        <a:pt x="206698" y="585068"/>
                        <a:pt x="143810" y="475013"/>
                      </a:cubicBezTo>
                      <a:cubicBezTo>
                        <a:pt x="135713" y="460842"/>
                        <a:pt x="136625" y="443145"/>
                        <a:pt x="131935" y="427512"/>
                      </a:cubicBezTo>
                      <a:cubicBezTo>
                        <a:pt x="124741" y="403532"/>
                        <a:pt x="116101" y="380011"/>
                        <a:pt x="108184" y="356260"/>
                      </a:cubicBezTo>
                      <a:lnTo>
                        <a:pt x="84433" y="285008"/>
                      </a:lnTo>
                      <a:cubicBezTo>
                        <a:pt x="53384" y="222909"/>
                        <a:pt x="64977" y="254681"/>
                        <a:pt x="48807" y="190005"/>
                      </a:cubicBezTo>
                      <a:cubicBezTo>
                        <a:pt x="44849" y="158338"/>
                        <a:pt x="42641" y="126402"/>
                        <a:pt x="36932" y="95003"/>
                      </a:cubicBezTo>
                      <a:cubicBezTo>
                        <a:pt x="25227" y="30624"/>
                        <a:pt x="26661" y="87138"/>
                        <a:pt x="1306" y="23751"/>
                      </a:cubicBezTo>
                      <a:cubicBezTo>
                        <a:pt x="-1634" y="16400"/>
                        <a:pt x="1306" y="7917"/>
                        <a:pt x="1306" y="0"/>
                      </a:cubicBezTo>
                    </a:path>
                  </a:pathLst>
                </a:custGeom>
                <a:noFill/>
                <a:ln w="571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  <p:sp>
              <p:nvSpPr>
                <p:cNvPr id="60" name="Freeform 59"/>
                <p:cNvSpPr/>
                <p:nvPr/>
              </p:nvSpPr>
              <p:spPr>
                <a:xfrm rot="402998">
                  <a:off x="2470066" y="1913766"/>
                  <a:ext cx="510639" cy="817559"/>
                </a:xfrm>
                <a:custGeom>
                  <a:avLst/>
                  <a:gdLst>
                    <a:gd name="connsiteX0" fmla="*/ 0 w 510639"/>
                    <a:gd name="connsiteY0" fmla="*/ 712520 h 712520"/>
                    <a:gd name="connsiteX1" fmla="*/ 23750 w 510639"/>
                    <a:gd name="connsiteY1" fmla="*/ 653143 h 712520"/>
                    <a:gd name="connsiteX2" fmla="*/ 35626 w 510639"/>
                    <a:gd name="connsiteY2" fmla="*/ 617517 h 712520"/>
                    <a:gd name="connsiteX3" fmla="*/ 59376 w 510639"/>
                    <a:gd name="connsiteY3" fmla="*/ 581891 h 712520"/>
                    <a:gd name="connsiteX4" fmla="*/ 106878 w 510639"/>
                    <a:gd name="connsiteY4" fmla="*/ 475013 h 712520"/>
                    <a:gd name="connsiteX5" fmla="*/ 118753 w 510639"/>
                    <a:gd name="connsiteY5" fmla="*/ 439387 h 712520"/>
                    <a:gd name="connsiteX6" fmla="*/ 166254 w 510639"/>
                    <a:gd name="connsiteY6" fmla="*/ 368135 h 712520"/>
                    <a:gd name="connsiteX7" fmla="*/ 178129 w 510639"/>
                    <a:gd name="connsiteY7" fmla="*/ 332509 h 712520"/>
                    <a:gd name="connsiteX8" fmla="*/ 225631 w 510639"/>
                    <a:gd name="connsiteY8" fmla="*/ 261257 h 712520"/>
                    <a:gd name="connsiteX9" fmla="*/ 285007 w 510639"/>
                    <a:gd name="connsiteY9" fmla="*/ 154379 h 712520"/>
                    <a:gd name="connsiteX10" fmla="*/ 308758 w 510639"/>
                    <a:gd name="connsiteY10" fmla="*/ 118753 h 712520"/>
                    <a:gd name="connsiteX11" fmla="*/ 332509 w 510639"/>
                    <a:gd name="connsiteY11" fmla="*/ 83127 h 712520"/>
                    <a:gd name="connsiteX12" fmla="*/ 368135 w 510639"/>
                    <a:gd name="connsiteY12" fmla="*/ 59377 h 712520"/>
                    <a:gd name="connsiteX13" fmla="*/ 475013 w 510639"/>
                    <a:gd name="connsiteY13" fmla="*/ 11876 h 712520"/>
                    <a:gd name="connsiteX14" fmla="*/ 510639 w 510639"/>
                    <a:gd name="connsiteY14" fmla="*/ 0 h 7125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510639" h="712520">
                      <a:moveTo>
                        <a:pt x="0" y="712520"/>
                      </a:moveTo>
                      <a:cubicBezTo>
                        <a:pt x="7917" y="692728"/>
                        <a:pt x="16265" y="673103"/>
                        <a:pt x="23750" y="653143"/>
                      </a:cubicBezTo>
                      <a:cubicBezTo>
                        <a:pt x="28145" y="641422"/>
                        <a:pt x="30028" y="628713"/>
                        <a:pt x="35626" y="617517"/>
                      </a:cubicBezTo>
                      <a:cubicBezTo>
                        <a:pt x="42009" y="604752"/>
                        <a:pt x="53580" y="594933"/>
                        <a:pt x="59376" y="581891"/>
                      </a:cubicBezTo>
                      <a:cubicBezTo>
                        <a:pt x="115901" y="454708"/>
                        <a:pt x="53129" y="555636"/>
                        <a:pt x="106878" y="475013"/>
                      </a:cubicBezTo>
                      <a:cubicBezTo>
                        <a:pt x="110836" y="463138"/>
                        <a:pt x="112674" y="450329"/>
                        <a:pt x="118753" y="439387"/>
                      </a:cubicBezTo>
                      <a:cubicBezTo>
                        <a:pt x="132615" y="414434"/>
                        <a:pt x="166254" y="368135"/>
                        <a:pt x="166254" y="368135"/>
                      </a:cubicBezTo>
                      <a:cubicBezTo>
                        <a:pt x="170212" y="356260"/>
                        <a:pt x="172050" y="343451"/>
                        <a:pt x="178129" y="332509"/>
                      </a:cubicBezTo>
                      <a:cubicBezTo>
                        <a:pt x="191992" y="307556"/>
                        <a:pt x="225631" y="261257"/>
                        <a:pt x="225631" y="261257"/>
                      </a:cubicBezTo>
                      <a:cubicBezTo>
                        <a:pt x="246532" y="198552"/>
                        <a:pt x="230563" y="236045"/>
                        <a:pt x="285007" y="154379"/>
                      </a:cubicBezTo>
                      <a:lnTo>
                        <a:pt x="308758" y="118753"/>
                      </a:lnTo>
                      <a:cubicBezTo>
                        <a:pt x="316675" y="106878"/>
                        <a:pt x="320634" y="91044"/>
                        <a:pt x="332509" y="83127"/>
                      </a:cubicBezTo>
                      <a:lnTo>
                        <a:pt x="368135" y="59377"/>
                      </a:lnTo>
                      <a:cubicBezTo>
                        <a:pt x="390951" y="-9074"/>
                        <a:pt x="365423" y="31802"/>
                        <a:pt x="475013" y="11876"/>
                      </a:cubicBezTo>
                      <a:cubicBezTo>
                        <a:pt x="487329" y="9637"/>
                        <a:pt x="510639" y="0"/>
                        <a:pt x="510639" y="0"/>
                      </a:cubicBezTo>
                    </a:path>
                  </a:pathLst>
                </a:custGeom>
                <a:noFill/>
                <a:ln w="571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</p:grpSp>
        </p:grpSp>
        <p:sp>
          <p:nvSpPr>
            <p:cNvPr id="61" name="Rectangle 60"/>
            <p:cNvSpPr/>
            <p:nvPr/>
          </p:nvSpPr>
          <p:spPr>
            <a:xfrm>
              <a:off x="3498073" y="1874122"/>
              <a:ext cx="2356735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2400" dirty="0" smtClean="0">
                  <a:solidFill>
                    <a:srgbClr val="FFFFFF"/>
                  </a:solidFill>
                  <a:latin typeface="MV Boli" panose="02000500030200090000" pitchFamily="2" charset="0"/>
                  <a:cs typeface="MV Boli" panose="02000500030200090000" pitchFamily="2" charset="0"/>
                </a:rPr>
                <a:t>Rapid Feedback</a:t>
              </a:r>
              <a:endParaRPr lang="en-GB" sz="24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6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/>
          <a:p>
            <a:r>
              <a:rPr dirty="0" smtClean="0">
                <a:solidFill>
                  <a:srgbClr val="666666"/>
                </a:solidFill>
              </a:rPr>
              <a:t>Copyright © </a:t>
            </a:r>
            <a:r>
              <a:rPr lang="en-GB" dirty="0" smtClean="0">
                <a:solidFill>
                  <a:srgbClr val="666666"/>
                </a:solidFill>
              </a:rPr>
              <a:t>2015</a:t>
            </a:r>
            <a:r>
              <a:rPr dirty="0" smtClean="0">
                <a:solidFill>
                  <a:srgbClr val="666666"/>
                </a:solidFill>
              </a:rPr>
              <a:t> Accenture  All rights reserved.</a:t>
            </a:r>
            <a:endParaRPr dirty="0">
              <a:solidFill>
                <a:srgbClr val="666666"/>
              </a:solidFill>
            </a:endParaRPr>
          </a:p>
        </p:txBody>
      </p:sp>
      <p:sp>
        <p:nvSpPr>
          <p:cNvPr id="42" name="Title 3"/>
          <p:cNvSpPr txBox="1">
            <a:spLocks/>
          </p:cNvSpPr>
          <p:nvPr/>
        </p:nvSpPr>
        <p:spPr>
          <a:xfrm>
            <a:off x="496800" y="5"/>
            <a:ext cx="8151900" cy="100297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300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endParaRPr lang="en-GB">
              <a:solidFill>
                <a:srgbClr val="FFFFFF"/>
              </a:solidFill>
            </a:endParaRPr>
          </a:p>
          <a:p>
            <a:endParaRPr lang="en-GB">
              <a:solidFill>
                <a:srgbClr val="FFFFFF"/>
              </a:solidFill>
            </a:endParaRPr>
          </a:p>
          <a:p>
            <a:r>
              <a:rPr lang="en-GB">
                <a:solidFill>
                  <a:srgbClr val="FFFFFF"/>
                </a:solidFill>
              </a:rPr>
              <a:t>This is the way</a:t>
            </a:r>
          </a:p>
        </p:txBody>
      </p:sp>
    </p:spTree>
    <p:extLst>
      <p:ext uri="{BB962C8B-B14F-4D97-AF65-F5344CB8AC3E}">
        <p14:creationId xmlns:p14="http://schemas.microsoft.com/office/powerpoint/2010/main" val="1950134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5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1.51053E-6 L -0.2382 0.17372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910" y="867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000"/>
                            </p:stCondLst>
                            <p:childTnLst>
                              <p:par>
                                <p:cTn id="1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8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3938370" y="1232770"/>
            <a:ext cx="2356735" cy="1697007"/>
            <a:chOff x="3498073" y="1874122"/>
            <a:chExt cx="2356735" cy="1697007"/>
          </a:xfrm>
        </p:grpSpPr>
        <p:grpSp>
          <p:nvGrpSpPr>
            <p:cNvPr id="100" name="Group 99"/>
            <p:cNvGrpSpPr/>
            <p:nvPr/>
          </p:nvGrpSpPr>
          <p:grpSpPr>
            <a:xfrm rot="20700000">
              <a:off x="3863939" y="2415601"/>
              <a:ext cx="1220157" cy="1155528"/>
              <a:chOff x="6165675" y="903323"/>
              <a:chExt cx="1220157" cy="1155528"/>
            </a:xfrm>
          </p:grpSpPr>
          <p:grpSp>
            <p:nvGrpSpPr>
              <p:cNvPr id="102" name="Group 101"/>
              <p:cNvGrpSpPr/>
              <p:nvPr/>
            </p:nvGrpSpPr>
            <p:grpSpPr>
              <a:xfrm>
                <a:off x="6344331" y="903323"/>
                <a:ext cx="1041501" cy="262163"/>
                <a:chOff x="3139709" y="1254265"/>
                <a:chExt cx="3536220" cy="890124"/>
              </a:xfrm>
            </p:grpSpPr>
            <p:sp>
              <p:nvSpPr>
                <p:cNvPr id="107" name="Freeform 106"/>
                <p:cNvSpPr/>
                <p:nvPr/>
              </p:nvSpPr>
              <p:spPr>
                <a:xfrm>
                  <a:off x="3139709" y="1254265"/>
                  <a:ext cx="3452837" cy="857756"/>
                </a:xfrm>
                <a:custGeom>
                  <a:avLst/>
                  <a:gdLst>
                    <a:gd name="connsiteX0" fmla="*/ 0 w 3188262"/>
                    <a:gd name="connsiteY0" fmla="*/ 801112 h 857756"/>
                    <a:gd name="connsiteX1" fmla="*/ 32368 w 3188262"/>
                    <a:gd name="connsiteY1" fmla="*/ 760652 h 857756"/>
                    <a:gd name="connsiteX2" fmla="*/ 56644 w 3188262"/>
                    <a:gd name="connsiteY2" fmla="*/ 744468 h 857756"/>
                    <a:gd name="connsiteX3" fmla="*/ 89012 w 3188262"/>
                    <a:gd name="connsiteY3" fmla="*/ 712100 h 857756"/>
                    <a:gd name="connsiteX4" fmla="*/ 105196 w 3188262"/>
                    <a:gd name="connsiteY4" fmla="*/ 687823 h 857756"/>
                    <a:gd name="connsiteX5" fmla="*/ 153748 w 3188262"/>
                    <a:gd name="connsiteY5" fmla="*/ 647363 h 857756"/>
                    <a:gd name="connsiteX6" fmla="*/ 169932 w 3188262"/>
                    <a:gd name="connsiteY6" fmla="*/ 623087 h 857756"/>
                    <a:gd name="connsiteX7" fmla="*/ 218485 w 3188262"/>
                    <a:gd name="connsiteY7" fmla="*/ 590719 h 857756"/>
                    <a:gd name="connsiteX8" fmla="*/ 242761 w 3188262"/>
                    <a:gd name="connsiteY8" fmla="*/ 574535 h 857756"/>
                    <a:gd name="connsiteX9" fmla="*/ 258945 w 3188262"/>
                    <a:gd name="connsiteY9" fmla="*/ 550259 h 857756"/>
                    <a:gd name="connsiteX10" fmla="*/ 307497 w 3188262"/>
                    <a:gd name="connsiteY10" fmla="*/ 525983 h 857756"/>
                    <a:gd name="connsiteX11" fmla="*/ 364141 w 3188262"/>
                    <a:gd name="connsiteY11" fmla="*/ 477431 h 857756"/>
                    <a:gd name="connsiteX12" fmla="*/ 412694 w 3188262"/>
                    <a:gd name="connsiteY12" fmla="*/ 445062 h 857756"/>
                    <a:gd name="connsiteX13" fmla="*/ 428878 w 3188262"/>
                    <a:gd name="connsiteY13" fmla="*/ 420786 h 857756"/>
                    <a:gd name="connsiteX14" fmla="*/ 477430 w 3188262"/>
                    <a:gd name="connsiteY14" fmla="*/ 396510 h 857756"/>
                    <a:gd name="connsiteX15" fmla="*/ 574534 w 3188262"/>
                    <a:gd name="connsiteY15" fmla="*/ 315590 h 857756"/>
                    <a:gd name="connsiteX16" fmla="*/ 598810 w 3188262"/>
                    <a:gd name="connsiteY16" fmla="*/ 299406 h 857756"/>
                    <a:gd name="connsiteX17" fmla="*/ 639271 w 3188262"/>
                    <a:gd name="connsiteY17" fmla="*/ 267038 h 857756"/>
                    <a:gd name="connsiteX18" fmla="*/ 704007 w 3188262"/>
                    <a:gd name="connsiteY18" fmla="*/ 250854 h 857756"/>
                    <a:gd name="connsiteX19" fmla="*/ 728283 w 3188262"/>
                    <a:gd name="connsiteY19" fmla="*/ 234670 h 857756"/>
                    <a:gd name="connsiteX20" fmla="*/ 752559 w 3188262"/>
                    <a:gd name="connsiteY20" fmla="*/ 226577 h 857756"/>
                    <a:gd name="connsiteX21" fmla="*/ 784927 w 3188262"/>
                    <a:gd name="connsiteY21" fmla="*/ 218485 h 857756"/>
                    <a:gd name="connsiteX22" fmla="*/ 865848 w 3188262"/>
                    <a:gd name="connsiteY22" fmla="*/ 202301 h 857756"/>
                    <a:gd name="connsiteX23" fmla="*/ 914400 w 3188262"/>
                    <a:gd name="connsiteY23" fmla="*/ 186117 h 857756"/>
                    <a:gd name="connsiteX24" fmla="*/ 971044 w 3188262"/>
                    <a:gd name="connsiteY24" fmla="*/ 161841 h 857756"/>
                    <a:gd name="connsiteX25" fmla="*/ 1003412 w 3188262"/>
                    <a:gd name="connsiteY25" fmla="*/ 145657 h 857756"/>
                    <a:gd name="connsiteX26" fmla="*/ 1060056 w 3188262"/>
                    <a:gd name="connsiteY26" fmla="*/ 129473 h 857756"/>
                    <a:gd name="connsiteX27" fmla="*/ 1132885 w 3188262"/>
                    <a:gd name="connsiteY27" fmla="*/ 105197 h 857756"/>
                    <a:gd name="connsiteX28" fmla="*/ 1181437 w 3188262"/>
                    <a:gd name="connsiteY28" fmla="*/ 89013 h 857756"/>
                    <a:gd name="connsiteX29" fmla="*/ 1205713 w 3188262"/>
                    <a:gd name="connsiteY29" fmla="*/ 80921 h 857756"/>
                    <a:gd name="connsiteX30" fmla="*/ 1238081 w 3188262"/>
                    <a:gd name="connsiteY30" fmla="*/ 72829 h 857756"/>
                    <a:gd name="connsiteX31" fmla="*/ 1351370 w 3188262"/>
                    <a:gd name="connsiteY31" fmla="*/ 56645 h 857756"/>
                    <a:gd name="connsiteX32" fmla="*/ 1383738 w 3188262"/>
                    <a:gd name="connsiteY32" fmla="*/ 40461 h 857756"/>
                    <a:gd name="connsiteX33" fmla="*/ 1408014 w 3188262"/>
                    <a:gd name="connsiteY33" fmla="*/ 24277 h 857756"/>
                    <a:gd name="connsiteX34" fmla="*/ 1488934 w 3188262"/>
                    <a:gd name="connsiteY34" fmla="*/ 16185 h 857756"/>
                    <a:gd name="connsiteX35" fmla="*/ 1545578 w 3188262"/>
                    <a:gd name="connsiteY35" fmla="*/ 0 h 857756"/>
                    <a:gd name="connsiteX36" fmla="*/ 1723603 w 3188262"/>
                    <a:gd name="connsiteY36" fmla="*/ 8093 h 857756"/>
                    <a:gd name="connsiteX37" fmla="*/ 1764063 w 3188262"/>
                    <a:gd name="connsiteY37" fmla="*/ 16185 h 857756"/>
                    <a:gd name="connsiteX38" fmla="*/ 1828800 w 3188262"/>
                    <a:gd name="connsiteY38" fmla="*/ 32369 h 857756"/>
                    <a:gd name="connsiteX39" fmla="*/ 1901628 w 3188262"/>
                    <a:gd name="connsiteY39" fmla="*/ 48553 h 857756"/>
                    <a:gd name="connsiteX40" fmla="*/ 1942088 w 3188262"/>
                    <a:gd name="connsiteY40" fmla="*/ 56645 h 857756"/>
                    <a:gd name="connsiteX41" fmla="*/ 2103929 w 3188262"/>
                    <a:gd name="connsiteY41" fmla="*/ 80921 h 857756"/>
                    <a:gd name="connsiteX42" fmla="*/ 2128205 w 3188262"/>
                    <a:gd name="connsiteY42" fmla="*/ 89013 h 857756"/>
                    <a:gd name="connsiteX43" fmla="*/ 2192941 w 3188262"/>
                    <a:gd name="connsiteY43" fmla="*/ 105197 h 857756"/>
                    <a:gd name="connsiteX44" fmla="*/ 2225309 w 3188262"/>
                    <a:gd name="connsiteY44" fmla="*/ 113289 h 857756"/>
                    <a:gd name="connsiteX45" fmla="*/ 2249586 w 3188262"/>
                    <a:gd name="connsiteY45" fmla="*/ 121381 h 857756"/>
                    <a:gd name="connsiteX46" fmla="*/ 2314322 w 3188262"/>
                    <a:gd name="connsiteY46" fmla="*/ 137565 h 857756"/>
                    <a:gd name="connsiteX47" fmla="*/ 2338598 w 3188262"/>
                    <a:gd name="connsiteY47" fmla="*/ 145657 h 857756"/>
                    <a:gd name="connsiteX48" fmla="*/ 2362874 w 3188262"/>
                    <a:gd name="connsiteY48" fmla="*/ 161841 h 857756"/>
                    <a:gd name="connsiteX49" fmla="*/ 2419518 w 3188262"/>
                    <a:gd name="connsiteY49" fmla="*/ 178025 h 857756"/>
                    <a:gd name="connsiteX50" fmla="*/ 2500439 w 3188262"/>
                    <a:gd name="connsiteY50" fmla="*/ 210393 h 857756"/>
                    <a:gd name="connsiteX51" fmla="*/ 2524715 w 3188262"/>
                    <a:gd name="connsiteY51" fmla="*/ 226577 h 857756"/>
                    <a:gd name="connsiteX52" fmla="*/ 2557083 w 3188262"/>
                    <a:gd name="connsiteY52" fmla="*/ 234670 h 857756"/>
                    <a:gd name="connsiteX53" fmla="*/ 2605635 w 3188262"/>
                    <a:gd name="connsiteY53" fmla="*/ 250854 h 857756"/>
                    <a:gd name="connsiteX54" fmla="*/ 2629911 w 3188262"/>
                    <a:gd name="connsiteY54" fmla="*/ 258946 h 857756"/>
                    <a:gd name="connsiteX55" fmla="*/ 2678463 w 3188262"/>
                    <a:gd name="connsiteY55" fmla="*/ 267038 h 857756"/>
                    <a:gd name="connsiteX56" fmla="*/ 2727016 w 3188262"/>
                    <a:gd name="connsiteY56" fmla="*/ 299406 h 857756"/>
                    <a:gd name="connsiteX57" fmla="*/ 2751292 w 3188262"/>
                    <a:gd name="connsiteY57" fmla="*/ 315590 h 857756"/>
                    <a:gd name="connsiteX58" fmla="*/ 2775568 w 3188262"/>
                    <a:gd name="connsiteY58" fmla="*/ 323682 h 857756"/>
                    <a:gd name="connsiteX59" fmla="*/ 2799844 w 3188262"/>
                    <a:gd name="connsiteY59" fmla="*/ 347958 h 857756"/>
                    <a:gd name="connsiteX60" fmla="*/ 2856488 w 3188262"/>
                    <a:gd name="connsiteY60" fmla="*/ 372234 h 857756"/>
                    <a:gd name="connsiteX61" fmla="*/ 2872672 w 3188262"/>
                    <a:gd name="connsiteY61" fmla="*/ 396510 h 857756"/>
                    <a:gd name="connsiteX62" fmla="*/ 2905040 w 3188262"/>
                    <a:gd name="connsiteY62" fmla="*/ 404602 h 857756"/>
                    <a:gd name="connsiteX63" fmla="*/ 2937409 w 3188262"/>
                    <a:gd name="connsiteY63" fmla="*/ 453154 h 857756"/>
                    <a:gd name="connsiteX64" fmla="*/ 2977869 w 3188262"/>
                    <a:gd name="connsiteY64" fmla="*/ 501707 h 857756"/>
                    <a:gd name="connsiteX65" fmla="*/ 3002145 w 3188262"/>
                    <a:gd name="connsiteY65" fmla="*/ 525983 h 857756"/>
                    <a:gd name="connsiteX66" fmla="*/ 3018329 w 3188262"/>
                    <a:gd name="connsiteY66" fmla="*/ 550259 h 857756"/>
                    <a:gd name="connsiteX67" fmla="*/ 3034513 w 3188262"/>
                    <a:gd name="connsiteY67" fmla="*/ 598811 h 857756"/>
                    <a:gd name="connsiteX68" fmla="*/ 3058789 w 3188262"/>
                    <a:gd name="connsiteY68" fmla="*/ 623087 h 857756"/>
                    <a:gd name="connsiteX69" fmla="*/ 3083065 w 3188262"/>
                    <a:gd name="connsiteY69" fmla="*/ 679731 h 857756"/>
                    <a:gd name="connsiteX70" fmla="*/ 3099249 w 3188262"/>
                    <a:gd name="connsiteY70" fmla="*/ 728284 h 857756"/>
                    <a:gd name="connsiteX71" fmla="*/ 3139709 w 3188262"/>
                    <a:gd name="connsiteY71" fmla="*/ 784928 h 857756"/>
                    <a:gd name="connsiteX72" fmla="*/ 3155894 w 3188262"/>
                    <a:gd name="connsiteY72" fmla="*/ 801112 h 857756"/>
                    <a:gd name="connsiteX73" fmla="*/ 3172078 w 3188262"/>
                    <a:gd name="connsiteY73" fmla="*/ 825388 h 857756"/>
                    <a:gd name="connsiteX74" fmla="*/ 3188262 w 3188262"/>
                    <a:gd name="connsiteY74" fmla="*/ 857756 h 857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</a:cxnLst>
                  <a:rect l="l" t="t" r="r" b="b"/>
                  <a:pathLst>
                    <a:path w="3188262" h="857756">
                      <a:moveTo>
                        <a:pt x="0" y="801112"/>
                      </a:moveTo>
                      <a:cubicBezTo>
                        <a:pt x="10789" y="787625"/>
                        <a:pt x="20155" y="772865"/>
                        <a:pt x="32368" y="760652"/>
                      </a:cubicBezTo>
                      <a:cubicBezTo>
                        <a:pt x="39245" y="753775"/>
                        <a:pt x="50569" y="752062"/>
                        <a:pt x="56644" y="744468"/>
                      </a:cubicBezTo>
                      <a:cubicBezTo>
                        <a:pt x="88031" y="705234"/>
                        <a:pt x="36046" y="729755"/>
                        <a:pt x="89012" y="712100"/>
                      </a:cubicBezTo>
                      <a:cubicBezTo>
                        <a:pt x="94407" y="704008"/>
                        <a:pt x="98319" y="694700"/>
                        <a:pt x="105196" y="687823"/>
                      </a:cubicBezTo>
                      <a:cubicBezTo>
                        <a:pt x="168857" y="624161"/>
                        <a:pt x="87456" y="726914"/>
                        <a:pt x="153748" y="647363"/>
                      </a:cubicBezTo>
                      <a:cubicBezTo>
                        <a:pt x="159974" y="639892"/>
                        <a:pt x="162613" y="629491"/>
                        <a:pt x="169932" y="623087"/>
                      </a:cubicBezTo>
                      <a:cubicBezTo>
                        <a:pt x="184570" y="610279"/>
                        <a:pt x="202301" y="601508"/>
                        <a:pt x="218485" y="590719"/>
                      </a:cubicBezTo>
                      <a:lnTo>
                        <a:pt x="242761" y="574535"/>
                      </a:lnTo>
                      <a:cubicBezTo>
                        <a:pt x="248156" y="566443"/>
                        <a:pt x="251351" y="556334"/>
                        <a:pt x="258945" y="550259"/>
                      </a:cubicBezTo>
                      <a:cubicBezTo>
                        <a:pt x="324759" y="497608"/>
                        <a:pt x="239283" y="594197"/>
                        <a:pt x="307497" y="525983"/>
                      </a:cubicBezTo>
                      <a:cubicBezTo>
                        <a:pt x="377692" y="455788"/>
                        <a:pt x="285113" y="524848"/>
                        <a:pt x="364141" y="477431"/>
                      </a:cubicBezTo>
                      <a:cubicBezTo>
                        <a:pt x="380820" y="467423"/>
                        <a:pt x="412694" y="445062"/>
                        <a:pt x="412694" y="445062"/>
                      </a:cubicBezTo>
                      <a:cubicBezTo>
                        <a:pt x="418089" y="436970"/>
                        <a:pt x="422001" y="427663"/>
                        <a:pt x="428878" y="420786"/>
                      </a:cubicBezTo>
                      <a:cubicBezTo>
                        <a:pt x="444565" y="405099"/>
                        <a:pt x="457686" y="403091"/>
                        <a:pt x="477430" y="396510"/>
                      </a:cubicBezTo>
                      <a:cubicBezTo>
                        <a:pt x="539736" y="334204"/>
                        <a:pt x="506938" y="360654"/>
                        <a:pt x="574534" y="315590"/>
                      </a:cubicBezTo>
                      <a:lnTo>
                        <a:pt x="598810" y="299406"/>
                      </a:lnTo>
                      <a:cubicBezTo>
                        <a:pt x="617840" y="270862"/>
                        <a:pt x="607422" y="275724"/>
                        <a:pt x="639271" y="267038"/>
                      </a:cubicBezTo>
                      <a:cubicBezTo>
                        <a:pt x="660730" y="261186"/>
                        <a:pt x="704007" y="250854"/>
                        <a:pt x="704007" y="250854"/>
                      </a:cubicBezTo>
                      <a:cubicBezTo>
                        <a:pt x="712099" y="245459"/>
                        <a:pt x="719584" y="239019"/>
                        <a:pt x="728283" y="234670"/>
                      </a:cubicBezTo>
                      <a:cubicBezTo>
                        <a:pt x="735912" y="230855"/>
                        <a:pt x="744357" y="228920"/>
                        <a:pt x="752559" y="226577"/>
                      </a:cubicBezTo>
                      <a:cubicBezTo>
                        <a:pt x="763252" y="223522"/>
                        <a:pt x="774052" y="220815"/>
                        <a:pt x="784927" y="218485"/>
                      </a:cubicBezTo>
                      <a:cubicBezTo>
                        <a:pt x="811824" y="212721"/>
                        <a:pt x="839752" y="211000"/>
                        <a:pt x="865848" y="202301"/>
                      </a:cubicBezTo>
                      <a:cubicBezTo>
                        <a:pt x="882032" y="196906"/>
                        <a:pt x="899142" y="193746"/>
                        <a:pt x="914400" y="186117"/>
                      </a:cubicBezTo>
                      <a:cubicBezTo>
                        <a:pt x="1021751" y="132441"/>
                        <a:pt x="887698" y="197561"/>
                        <a:pt x="971044" y="161841"/>
                      </a:cubicBezTo>
                      <a:cubicBezTo>
                        <a:pt x="982132" y="157089"/>
                        <a:pt x="992324" y="150409"/>
                        <a:pt x="1003412" y="145657"/>
                      </a:cubicBezTo>
                      <a:cubicBezTo>
                        <a:pt x="1019664" y="138692"/>
                        <a:pt x="1043631" y="133579"/>
                        <a:pt x="1060056" y="129473"/>
                      </a:cubicBezTo>
                      <a:cubicBezTo>
                        <a:pt x="1104877" y="99592"/>
                        <a:pt x="1063110" y="122641"/>
                        <a:pt x="1132885" y="105197"/>
                      </a:cubicBezTo>
                      <a:cubicBezTo>
                        <a:pt x="1149435" y="101060"/>
                        <a:pt x="1165253" y="94408"/>
                        <a:pt x="1181437" y="89013"/>
                      </a:cubicBezTo>
                      <a:cubicBezTo>
                        <a:pt x="1189529" y="86316"/>
                        <a:pt x="1197438" y="82990"/>
                        <a:pt x="1205713" y="80921"/>
                      </a:cubicBezTo>
                      <a:cubicBezTo>
                        <a:pt x="1216502" y="78224"/>
                        <a:pt x="1227089" y="74520"/>
                        <a:pt x="1238081" y="72829"/>
                      </a:cubicBezTo>
                      <a:cubicBezTo>
                        <a:pt x="1404678" y="47199"/>
                        <a:pt x="1241854" y="78548"/>
                        <a:pt x="1351370" y="56645"/>
                      </a:cubicBezTo>
                      <a:cubicBezTo>
                        <a:pt x="1362159" y="51250"/>
                        <a:pt x="1373265" y="46446"/>
                        <a:pt x="1383738" y="40461"/>
                      </a:cubicBezTo>
                      <a:cubicBezTo>
                        <a:pt x="1392182" y="35636"/>
                        <a:pt x="1398538" y="26464"/>
                        <a:pt x="1408014" y="24277"/>
                      </a:cubicBezTo>
                      <a:cubicBezTo>
                        <a:pt x="1434428" y="18182"/>
                        <a:pt x="1461961" y="18882"/>
                        <a:pt x="1488934" y="16185"/>
                      </a:cubicBezTo>
                      <a:cubicBezTo>
                        <a:pt x="1500379" y="12370"/>
                        <a:pt x="1535421" y="0"/>
                        <a:pt x="1545578" y="0"/>
                      </a:cubicBezTo>
                      <a:cubicBezTo>
                        <a:pt x="1604981" y="0"/>
                        <a:pt x="1664261" y="5395"/>
                        <a:pt x="1723603" y="8093"/>
                      </a:cubicBezTo>
                      <a:cubicBezTo>
                        <a:pt x="1737090" y="10790"/>
                        <a:pt x="1750661" y="13092"/>
                        <a:pt x="1764063" y="16185"/>
                      </a:cubicBezTo>
                      <a:cubicBezTo>
                        <a:pt x="1785736" y="21187"/>
                        <a:pt x="1806989" y="28007"/>
                        <a:pt x="1828800" y="32369"/>
                      </a:cubicBezTo>
                      <a:cubicBezTo>
                        <a:pt x="1950829" y="56775"/>
                        <a:pt x="1798778" y="25697"/>
                        <a:pt x="1901628" y="48553"/>
                      </a:cubicBezTo>
                      <a:cubicBezTo>
                        <a:pt x="1915054" y="51537"/>
                        <a:pt x="1928601" y="53948"/>
                        <a:pt x="1942088" y="56645"/>
                      </a:cubicBezTo>
                      <a:cubicBezTo>
                        <a:pt x="2006849" y="99819"/>
                        <a:pt x="1945954" y="65124"/>
                        <a:pt x="2103929" y="80921"/>
                      </a:cubicBezTo>
                      <a:cubicBezTo>
                        <a:pt x="2112416" y="81770"/>
                        <a:pt x="2119976" y="86769"/>
                        <a:pt x="2128205" y="89013"/>
                      </a:cubicBezTo>
                      <a:cubicBezTo>
                        <a:pt x="2149664" y="94865"/>
                        <a:pt x="2171362" y="99802"/>
                        <a:pt x="2192941" y="105197"/>
                      </a:cubicBezTo>
                      <a:cubicBezTo>
                        <a:pt x="2203730" y="107894"/>
                        <a:pt x="2214758" y="109772"/>
                        <a:pt x="2225309" y="113289"/>
                      </a:cubicBezTo>
                      <a:cubicBezTo>
                        <a:pt x="2233401" y="115986"/>
                        <a:pt x="2241357" y="119137"/>
                        <a:pt x="2249586" y="121381"/>
                      </a:cubicBezTo>
                      <a:cubicBezTo>
                        <a:pt x="2271045" y="127233"/>
                        <a:pt x="2293221" y="130531"/>
                        <a:pt x="2314322" y="137565"/>
                      </a:cubicBezTo>
                      <a:cubicBezTo>
                        <a:pt x="2322414" y="140262"/>
                        <a:pt x="2330969" y="141842"/>
                        <a:pt x="2338598" y="145657"/>
                      </a:cubicBezTo>
                      <a:cubicBezTo>
                        <a:pt x="2347297" y="150006"/>
                        <a:pt x="2354175" y="157492"/>
                        <a:pt x="2362874" y="161841"/>
                      </a:cubicBezTo>
                      <a:cubicBezTo>
                        <a:pt x="2374483" y="167645"/>
                        <a:pt x="2409147" y="175432"/>
                        <a:pt x="2419518" y="178025"/>
                      </a:cubicBezTo>
                      <a:cubicBezTo>
                        <a:pt x="2485349" y="227399"/>
                        <a:pt x="2413841" y="181527"/>
                        <a:pt x="2500439" y="210393"/>
                      </a:cubicBezTo>
                      <a:cubicBezTo>
                        <a:pt x="2509665" y="213468"/>
                        <a:pt x="2515776" y="222746"/>
                        <a:pt x="2524715" y="226577"/>
                      </a:cubicBezTo>
                      <a:cubicBezTo>
                        <a:pt x="2534937" y="230958"/>
                        <a:pt x="2546431" y="231474"/>
                        <a:pt x="2557083" y="234670"/>
                      </a:cubicBezTo>
                      <a:cubicBezTo>
                        <a:pt x="2573423" y="239572"/>
                        <a:pt x="2589451" y="245459"/>
                        <a:pt x="2605635" y="250854"/>
                      </a:cubicBezTo>
                      <a:cubicBezTo>
                        <a:pt x="2613727" y="253551"/>
                        <a:pt x="2621497" y="257544"/>
                        <a:pt x="2629911" y="258946"/>
                      </a:cubicBezTo>
                      <a:lnTo>
                        <a:pt x="2678463" y="267038"/>
                      </a:lnTo>
                      <a:lnTo>
                        <a:pt x="2727016" y="299406"/>
                      </a:lnTo>
                      <a:cubicBezTo>
                        <a:pt x="2735108" y="304801"/>
                        <a:pt x="2742066" y="312515"/>
                        <a:pt x="2751292" y="315590"/>
                      </a:cubicBezTo>
                      <a:lnTo>
                        <a:pt x="2775568" y="323682"/>
                      </a:lnTo>
                      <a:cubicBezTo>
                        <a:pt x="2783660" y="331774"/>
                        <a:pt x="2790532" y="341306"/>
                        <a:pt x="2799844" y="347958"/>
                      </a:cubicBezTo>
                      <a:cubicBezTo>
                        <a:pt x="2817343" y="360457"/>
                        <a:pt x="2836677" y="365630"/>
                        <a:pt x="2856488" y="372234"/>
                      </a:cubicBezTo>
                      <a:cubicBezTo>
                        <a:pt x="2861883" y="380326"/>
                        <a:pt x="2864580" y="391115"/>
                        <a:pt x="2872672" y="396510"/>
                      </a:cubicBezTo>
                      <a:cubicBezTo>
                        <a:pt x="2881926" y="402679"/>
                        <a:pt x="2896670" y="397279"/>
                        <a:pt x="2905040" y="404602"/>
                      </a:cubicBezTo>
                      <a:cubicBezTo>
                        <a:pt x="2919678" y="417410"/>
                        <a:pt x="2923656" y="439400"/>
                        <a:pt x="2937409" y="453154"/>
                      </a:cubicBezTo>
                      <a:cubicBezTo>
                        <a:pt x="2979458" y="495205"/>
                        <a:pt x="2920151" y="434369"/>
                        <a:pt x="2977869" y="501707"/>
                      </a:cubicBezTo>
                      <a:cubicBezTo>
                        <a:pt x="2985317" y="510396"/>
                        <a:pt x="2994819" y="517192"/>
                        <a:pt x="3002145" y="525983"/>
                      </a:cubicBezTo>
                      <a:cubicBezTo>
                        <a:pt x="3008371" y="533454"/>
                        <a:pt x="3014379" y="541372"/>
                        <a:pt x="3018329" y="550259"/>
                      </a:cubicBezTo>
                      <a:cubicBezTo>
                        <a:pt x="3025257" y="565848"/>
                        <a:pt x="3022450" y="586748"/>
                        <a:pt x="3034513" y="598811"/>
                      </a:cubicBezTo>
                      <a:lnTo>
                        <a:pt x="3058789" y="623087"/>
                      </a:lnTo>
                      <a:cubicBezTo>
                        <a:pt x="3080195" y="708713"/>
                        <a:pt x="3051132" y="607880"/>
                        <a:pt x="3083065" y="679731"/>
                      </a:cubicBezTo>
                      <a:cubicBezTo>
                        <a:pt x="3089994" y="695320"/>
                        <a:pt x="3087186" y="716221"/>
                        <a:pt x="3099249" y="728284"/>
                      </a:cubicBezTo>
                      <a:cubicBezTo>
                        <a:pt x="3152267" y="781302"/>
                        <a:pt x="3097101" y="721019"/>
                        <a:pt x="3139709" y="784928"/>
                      </a:cubicBezTo>
                      <a:cubicBezTo>
                        <a:pt x="3143941" y="791276"/>
                        <a:pt x="3151128" y="795154"/>
                        <a:pt x="3155894" y="801112"/>
                      </a:cubicBezTo>
                      <a:cubicBezTo>
                        <a:pt x="3161970" y="808706"/>
                        <a:pt x="3167729" y="816689"/>
                        <a:pt x="3172078" y="825388"/>
                      </a:cubicBezTo>
                      <a:cubicBezTo>
                        <a:pt x="3190675" y="862581"/>
                        <a:pt x="3169980" y="839474"/>
                        <a:pt x="3188262" y="857756"/>
                      </a:cubicBezTo>
                    </a:path>
                  </a:pathLst>
                </a:custGeom>
                <a:noFill/>
                <a:ln w="762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  <p:sp>
              <p:nvSpPr>
                <p:cNvPr id="108" name="Freeform 107"/>
                <p:cNvSpPr/>
                <p:nvPr/>
              </p:nvSpPr>
              <p:spPr>
                <a:xfrm>
                  <a:off x="6642818" y="1683143"/>
                  <a:ext cx="33111" cy="461246"/>
                </a:xfrm>
                <a:custGeom>
                  <a:avLst/>
                  <a:gdLst>
                    <a:gd name="connsiteX0" fmla="*/ 33111 w 33111"/>
                    <a:gd name="connsiteY0" fmla="*/ 0 h 461246"/>
                    <a:gd name="connsiteX1" fmla="*/ 8835 w 33111"/>
                    <a:gd name="connsiteY1" fmla="*/ 396510 h 461246"/>
                    <a:gd name="connsiteX2" fmla="*/ 743 w 33111"/>
                    <a:gd name="connsiteY2" fmla="*/ 420786 h 461246"/>
                    <a:gd name="connsiteX3" fmla="*/ 743 w 33111"/>
                    <a:gd name="connsiteY3" fmla="*/ 461246 h 4612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3111" h="461246">
                      <a:moveTo>
                        <a:pt x="33111" y="0"/>
                      </a:moveTo>
                      <a:cubicBezTo>
                        <a:pt x="-21008" y="162361"/>
                        <a:pt x="25812" y="6031"/>
                        <a:pt x="8835" y="396510"/>
                      </a:cubicBezTo>
                      <a:cubicBezTo>
                        <a:pt x="8464" y="405032"/>
                        <a:pt x="1801" y="412322"/>
                        <a:pt x="743" y="420786"/>
                      </a:cubicBezTo>
                      <a:cubicBezTo>
                        <a:pt x="-930" y="434169"/>
                        <a:pt x="743" y="447759"/>
                        <a:pt x="743" y="461246"/>
                      </a:cubicBezTo>
                    </a:path>
                  </a:pathLst>
                </a:custGeom>
                <a:noFill/>
                <a:ln w="571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  <p:sp>
              <p:nvSpPr>
                <p:cNvPr id="109" name="Freeform 108"/>
                <p:cNvSpPr/>
                <p:nvPr/>
              </p:nvSpPr>
              <p:spPr>
                <a:xfrm>
                  <a:off x="6255143" y="1958273"/>
                  <a:ext cx="372234" cy="153748"/>
                </a:xfrm>
                <a:custGeom>
                  <a:avLst/>
                  <a:gdLst>
                    <a:gd name="connsiteX0" fmla="*/ 0 w 372234"/>
                    <a:gd name="connsiteY0" fmla="*/ 0 h 153748"/>
                    <a:gd name="connsiteX1" fmla="*/ 40461 w 372234"/>
                    <a:gd name="connsiteY1" fmla="*/ 16184 h 153748"/>
                    <a:gd name="connsiteX2" fmla="*/ 64737 w 372234"/>
                    <a:gd name="connsiteY2" fmla="*/ 24276 h 153748"/>
                    <a:gd name="connsiteX3" fmla="*/ 89013 w 372234"/>
                    <a:gd name="connsiteY3" fmla="*/ 40460 h 153748"/>
                    <a:gd name="connsiteX4" fmla="*/ 121381 w 372234"/>
                    <a:gd name="connsiteY4" fmla="*/ 56644 h 153748"/>
                    <a:gd name="connsiteX5" fmla="*/ 145657 w 372234"/>
                    <a:gd name="connsiteY5" fmla="*/ 72828 h 153748"/>
                    <a:gd name="connsiteX6" fmla="*/ 194209 w 372234"/>
                    <a:gd name="connsiteY6" fmla="*/ 89012 h 153748"/>
                    <a:gd name="connsiteX7" fmla="*/ 242761 w 372234"/>
                    <a:gd name="connsiteY7" fmla="*/ 113288 h 153748"/>
                    <a:gd name="connsiteX8" fmla="*/ 331774 w 372234"/>
                    <a:gd name="connsiteY8" fmla="*/ 121380 h 153748"/>
                    <a:gd name="connsiteX9" fmla="*/ 356050 w 372234"/>
                    <a:gd name="connsiteY9" fmla="*/ 129472 h 153748"/>
                    <a:gd name="connsiteX10" fmla="*/ 372234 w 372234"/>
                    <a:gd name="connsiteY10" fmla="*/ 153748 h 1537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72234" h="153748">
                      <a:moveTo>
                        <a:pt x="0" y="0"/>
                      </a:moveTo>
                      <a:cubicBezTo>
                        <a:pt x="13487" y="5395"/>
                        <a:pt x="26860" y="11084"/>
                        <a:pt x="40461" y="16184"/>
                      </a:cubicBezTo>
                      <a:cubicBezTo>
                        <a:pt x="48448" y="19179"/>
                        <a:pt x="57108" y="20461"/>
                        <a:pt x="64737" y="24276"/>
                      </a:cubicBezTo>
                      <a:cubicBezTo>
                        <a:pt x="73436" y="28625"/>
                        <a:pt x="80569" y="35635"/>
                        <a:pt x="89013" y="40460"/>
                      </a:cubicBezTo>
                      <a:cubicBezTo>
                        <a:pt x="99486" y="46445"/>
                        <a:pt x="110908" y="50659"/>
                        <a:pt x="121381" y="56644"/>
                      </a:cubicBezTo>
                      <a:cubicBezTo>
                        <a:pt x="129825" y="61469"/>
                        <a:pt x="136770" y="68878"/>
                        <a:pt x="145657" y="72828"/>
                      </a:cubicBezTo>
                      <a:cubicBezTo>
                        <a:pt x="161246" y="79756"/>
                        <a:pt x="180015" y="79549"/>
                        <a:pt x="194209" y="89012"/>
                      </a:cubicBezTo>
                      <a:cubicBezTo>
                        <a:pt x="211692" y="100667"/>
                        <a:pt x="221441" y="110242"/>
                        <a:pt x="242761" y="113288"/>
                      </a:cubicBezTo>
                      <a:cubicBezTo>
                        <a:pt x="272255" y="117501"/>
                        <a:pt x="302103" y="118683"/>
                        <a:pt x="331774" y="121380"/>
                      </a:cubicBezTo>
                      <a:cubicBezTo>
                        <a:pt x="339866" y="124077"/>
                        <a:pt x="349389" y="124144"/>
                        <a:pt x="356050" y="129472"/>
                      </a:cubicBezTo>
                      <a:cubicBezTo>
                        <a:pt x="363644" y="135547"/>
                        <a:pt x="372234" y="153748"/>
                        <a:pt x="372234" y="153748"/>
                      </a:cubicBezTo>
                    </a:path>
                  </a:pathLst>
                </a:custGeom>
                <a:noFill/>
                <a:ln w="571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</p:grpSp>
          <p:grpSp>
            <p:nvGrpSpPr>
              <p:cNvPr id="103" name="Group 102"/>
              <p:cNvGrpSpPr/>
              <p:nvPr/>
            </p:nvGrpSpPr>
            <p:grpSpPr>
              <a:xfrm>
                <a:off x="6165675" y="1097562"/>
                <a:ext cx="242602" cy="961289"/>
                <a:chOff x="2219480" y="1913766"/>
                <a:chExt cx="823709" cy="3263876"/>
              </a:xfrm>
            </p:grpSpPr>
            <p:sp>
              <p:nvSpPr>
                <p:cNvPr id="104" name="Freeform 103"/>
                <p:cNvSpPr/>
                <p:nvPr/>
              </p:nvSpPr>
              <p:spPr>
                <a:xfrm>
                  <a:off x="2219480" y="2627937"/>
                  <a:ext cx="209685" cy="1545578"/>
                </a:xfrm>
                <a:custGeom>
                  <a:avLst/>
                  <a:gdLst>
                    <a:gd name="connsiteX0" fmla="*/ 121381 w 202325"/>
                    <a:gd name="connsiteY0" fmla="*/ 1545578 h 1545578"/>
                    <a:gd name="connsiteX1" fmla="*/ 89013 w 202325"/>
                    <a:gd name="connsiteY1" fmla="*/ 1448474 h 1545578"/>
                    <a:gd name="connsiteX2" fmla="*/ 72828 w 202325"/>
                    <a:gd name="connsiteY2" fmla="*/ 1399922 h 1545578"/>
                    <a:gd name="connsiteX3" fmla="*/ 64736 w 202325"/>
                    <a:gd name="connsiteY3" fmla="*/ 1294725 h 1545578"/>
                    <a:gd name="connsiteX4" fmla="*/ 56644 w 202325"/>
                    <a:gd name="connsiteY4" fmla="*/ 1229989 h 1545578"/>
                    <a:gd name="connsiteX5" fmla="*/ 48552 w 202325"/>
                    <a:gd name="connsiteY5" fmla="*/ 1132884 h 1545578"/>
                    <a:gd name="connsiteX6" fmla="*/ 16184 w 202325"/>
                    <a:gd name="connsiteY6" fmla="*/ 1084332 h 1545578"/>
                    <a:gd name="connsiteX7" fmla="*/ 0 w 202325"/>
                    <a:gd name="connsiteY7" fmla="*/ 1027688 h 1545578"/>
                    <a:gd name="connsiteX8" fmla="*/ 8092 w 202325"/>
                    <a:gd name="connsiteY8" fmla="*/ 704007 h 1545578"/>
                    <a:gd name="connsiteX9" fmla="*/ 16184 w 202325"/>
                    <a:gd name="connsiteY9" fmla="*/ 647362 h 1545578"/>
                    <a:gd name="connsiteX10" fmla="*/ 24276 w 202325"/>
                    <a:gd name="connsiteY10" fmla="*/ 574534 h 1545578"/>
                    <a:gd name="connsiteX11" fmla="*/ 48552 w 202325"/>
                    <a:gd name="connsiteY11" fmla="*/ 485522 h 1545578"/>
                    <a:gd name="connsiteX12" fmla="*/ 72828 w 202325"/>
                    <a:gd name="connsiteY12" fmla="*/ 404601 h 1545578"/>
                    <a:gd name="connsiteX13" fmla="*/ 97105 w 202325"/>
                    <a:gd name="connsiteY13" fmla="*/ 331773 h 1545578"/>
                    <a:gd name="connsiteX14" fmla="*/ 105197 w 202325"/>
                    <a:gd name="connsiteY14" fmla="*/ 307497 h 1545578"/>
                    <a:gd name="connsiteX15" fmla="*/ 113289 w 202325"/>
                    <a:gd name="connsiteY15" fmla="*/ 283221 h 1545578"/>
                    <a:gd name="connsiteX16" fmla="*/ 129473 w 202325"/>
                    <a:gd name="connsiteY16" fmla="*/ 258945 h 1545578"/>
                    <a:gd name="connsiteX17" fmla="*/ 137565 w 202325"/>
                    <a:gd name="connsiteY17" fmla="*/ 226576 h 1545578"/>
                    <a:gd name="connsiteX18" fmla="*/ 153749 w 202325"/>
                    <a:gd name="connsiteY18" fmla="*/ 178024 h 1545578"/>
                    <a:gd name="connsiteX19" fmla="*/ 161841 w 202325"/>
                    <a:gd name="connsiteY19" fmla="*/ 153748 h 1545578"/>
                    <a:gd name="connsiteX20" fmla="*/ 194209 w 202325"/>
                    <a:gd name="connsiteY20" fmla="*/ 64736 h 1545578"/>
                    <a:gd name="connsiteX21" fmla="*/ 202301 w 202325"/>
                    <a:gd name="connsiteY21" fmla="*/ 0 h 1545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02325" h="1545578">
                      <a:moveTo>
                        <a:pt x="121381" y="1545578"/>
                      </a:moveTo>
                      <a:cubicBezTo>
                        <a:pt x="77561" y="1457938"/>
                        <a:pt x="111148" y="1537011"/>
                        <a:pt x="89013" y="1448474"/>
                      </a:cubicBezTo>
                      <a:cubicBezTo>
                        <a:pt x="84875" y="1431924"/>
                        <a:pt x="72828" y="1399922"/>
                        <a:pt x="72828" y="1399922"/>
                      </a:cubicBezTo>
                      <a:cubicBezTo>
                        <a:pt x="70131" y="1364856"/>
                        <a:pt x="68070" y="1329736"/>
                        <a:pt x="64736" y="1294725"/>
                      </a:cubicBezTo>
                      <a:cubicBezTo>
                        <a:pt x="62674" y="1273076"/>
                        <a:pt x="58808" y="1251628"/>
                        <a:pt x="56644" y="1229989"/>
                      </a:cubicBezTo>
                      <a:cubicBezTo>
                        <a:pt x="53412" y="1197670"/>
                        <a:pt x="57245" y="1164180"/>
                        <a:pt x="48552" y="1132884"/>
                      </a:cubicBezTo>
                      <a:cubicBezTo>
                        <a:pt x="43346" y="1114143"/>
                        <a:pt x="22335" y="1102785"/>
                        <a:pt x="16184" y="1084332"/>
                      </a:cubicBezTo>
                      <a:cubicBezTo>
                        <a:pt x="4575" y="1049505"/>
                        <a:pt x="10161" y="1068331"/>
                        <a:pt x="0" y="1027688"/>
                      </a:cubicBezTo>
                      <a:cubicBezTo>
                        <a:pt x="2697" y="919794"/>
                        <a:pt x="3504" y="811837"/>
                        <a:pt x="8092" y="704007"/>
                      </a:cubicBezTo>
                      <a:cubicBezTo>
                        <a:pt x="8903" y="684951"/>
                        <a:pt x="13818" y="666288"/>
                        <a:pt x="16184" y="647362"/>
                      </a:cubicBezTo>
                      <a:cubicBezTo>
                        <a:pt x="19214" y="623125"/>
                        <a:pt x="20822" y="598714"/>
                        <a:pt x="24276" y="574534"/>
                      </a:cubicBezTo>
                      <a:cubicBezTo>
                        <a:pt x="33607" y="509215"/>
                        <a:pt x="30631" y="557207"/>
                        <a:pt x="48552" y="485522"/>
                      </a:cubicBezTo>
                      <a:cubicBezTo>
                        <a:pt x="60781" y="436603"/>
                        <a:pt x="53127" y="463704"/>
                        <a:pt x="72828" y="404601"/>
                      </a:cubicBezTo>
                      <a:lnTo>
                        <a:pt x="97105" y="331773"/>
                      </a:lnTo>
                      <a:lnTo>
                        <a:pt x="105197" y="307497"/>
                      </a:lnTo>
                      <a:cubicBezTo>
                        <a:pt x="107894" y="299405"/>
                        <a:pt x="108558" y="290318"/>
                        <a:pt x="113289" y="283221"/>
                      </a:cubicBezTo>
                      <a:lnTo>
                        <a:pt x="129473" y="258945"/>
                      </a:lnTo>
                      <a:cubicBezTo>
                        <a:pt x="132170" y="248155"/>
                        <a:pt x="134369" y="237229"/>
                        <a:pt x="137565" y="226576"/>
                      </a:cubicBezTo>
                      <a:cubicBezTo>
                        <a:pt x="142467" y="210236"/>
                        <a:pt x="148354" y="194208"/>
                        <a:pt x="153749" y="178024"/>
                      </a:cubicBezTo>
                      <a:cubicBezTo>
                        <a:pt x="156446" y="169932"/>
                        <a:pt x="159772" y="162023"/>
                        <a:pt x="161841" y="153748"/>
                      </a:cubicBezTo>
                      <a:cubicBezTo>
                        <a:pt x="180384" y="79577"/>
                        <a:pt x="165687" y="107519"/>
                        <a:pt x="194209" y="64736"/>
                      </a:cubicBezTo>
                      <a:cubicBezTo>
                        <a:pt x="203188" y="10863"/>
                        <a:pt x="202301" y="32591"/>
                        <a:pt x="202301" y="0"/>
                      </a:cubicBezTo>
                    </a:path>
                  </a:pathLst>
                </a:custGeom>
                <a:noFill/>
                <a:ln w="762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  <p:sp>
              <p:nvSpPr>
                <p:cNvPr id="105" name="Freeform 104"/>
                <p:cNvSpPr/>
                <p:nvPr/>
              </p:nvSpPr>
              <p:spPr>
                <a:xfrm>
                  <a:off x="2300572" y="4013860"/>
                  <a:ext cx="742617" cy="1163782"/>
                </a:xfrm>
                <a:custGeom>
                  <a:avLst/>
                  <a:gdLst>
                    <a:gd name="connsiteX0" fmla="*/ 666324 w 666324"/>
                    <a:gd name="connsiteY0" fmla="*/ 1163782 h 1163782"/>
                    <a:gd name="connsiteX1" fmla="*/ 606948 w 666324"/>
                    <a:gd name="connsiteY1" fmla="*/ 1140031 h 1163782"/>
                    <a:gd name="connsiteX2" fmla="*/ 571322 w 666324"/>
                    <a:gd name="connsiteY2" fmla="*/ 1104405 h 1163782"/>
                    <a:gd name="connsiteX3" fmla="*/ 535696 w 666324"/>
                    <a:gd name="connsiteY3" fmla="*/ 1080655 h 1163782"/>
                    <a:gd name="connsiteX4" fmla="*/ 476319 w 666324"/>
                    <a:gd name="connsiteY4" fmla="*/ 1009403 h 1163782"/>
                    <a:gd name="connsiteX5" fmla="*/ 405067 w 666324"/>
                    <a:gd name="connsiteY5" fmla="*/ 902525 h 1163782"/>
                    <a:gd name="connsiteX6" fmla="*/ 345690 w 666324"/>
                    <a:gd name="connsiteY6" fmla="*/ 819397 h 1163782"/>
                    <a:gd name="connsiteX7" fmla="*/ 310064 w 666324"/>
                    <a:gd name="connsiteY7" fmla="*/ 748146 h 1163782"/>
                    <a:gd name="connsiteX8" fmla="*/ 238812 w 666324"/>
                    <a:gd name="connsiteY8" fmla="*/ 629392 h 1163782"/>
                    <a:gd name="connsiteX9" fmla="*/ 215062 w 666324"/>
                    <a:gd name="connsiteY9" fmla="*/ 593766 h 1163782"/>
                    <a:gd name="connsiteX10" fmla="*/ 191311 w 666324"/>
                    <a:gd name="connsiteY10" fmla="*/ 558140 h 1163782"/>
                    <a:gd name="connsiteX11" fmla="*/ 143810 w 666324"/>
                    <a:gd name="connsiteY11" fmla="*/ 475013 h 1163782"/>
                    <a:gd name="connsiteX12" fmla="*/ 131935 w 666324"/>
                    <a:gd name="connsiteY12" fmla="*/ 427512 h 1163782"/>
                    <a:gd name="connsiteX13" fmla="*/ 108184 w 666324"/>
                    <a:gd name="connsiteY13" fmla="*/ 356260 h 1163782"/>
                    <a:gd name="connsiteX14" fmla="*/ 84433 w 666324"/>
                    <a:gd name="connsiteY14" fmla="*/ 285008 h 1163782"/>
                    <a:gd name="connsiteX15" fmla="*/ 48807 w 666324"/>
                    <a:gd name="connsiteY15" fmla="*/ 190005 h 1163782"/>
                    <a:gd name="connsiteX16" fmla="*/ 36932 w 666324"/>
                    <a:gd name="connsiteY16" fmla="*/ 95003 h 1163782"/>
                    <a:gd name="connsiteX17" fmla="*/ 1306 w 666324"/>
                    <a:gd name="connsiteY17" fmla="*/ 23751 h 1163782"/>
                    <a:gd name="connsiteX18" fmla="*/ 1306 w 666324"/>
                    <a:gd name="connsiteY18" fmla="*/ 0 h 1163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666324" h="1163782">
                      <a:moveTo>
                        <a:pt x="666324" y="1163782"/>
                      </a:moveTo>
                      <a:cubicBezTo>
                        <a:pt x="646532" y="1155865"/>
                        <a:pt x="625024" y="1151329"/>
                        <a:pt x="606948" y="1140031"/>
                      </a:cubicBezTo>
                      <a:cubicBezTo>
                        <a:pt x="592707" y="1131130"/>
                        <a:pt x="584224" y="1115156"/>
                        <a:pt x="571322" y="1104405"/>
                      </a:cubicBezTo>
                      <a:cubicBezTo>
                        <a:pt x="560358" y="1095268"/>
                        <a:pt x="547571" y="1088572"/>
                        <a:pt x="535696" y="1080655"/>
                      </a:cubicBezTo>
                      <a:cubicBezTo>
                        <a:pt x="450818" y="953339"/>
                        <a:pt x="583003" y="1146569"/>
                        <a:pt x="476319" y="1009403"/>
                      </a:cubicBezTo>
                      <a:cubicBezTo>
                        <a:pt x="393269" y="902624"/>
                        <a:pt x="458468" y="973727"/>
                        <a:pt x="405067" y="902525"/>
                      </a:cubicBezTo>
                      <a:cubicBezTo>
                        <a:pt x="360878" y="843605"/>
                        <a:pt x="380420" y="871491"/>
                        <a:pt x="345690" y="819397"/>
                      </a:cubicBezTo>
                      <a:cubicBezTo>
                        <a:pt x="323916" y="754075"/>
                        <a:pt x="346899" y="812607"/>
                        <a:pt x="310064" y="748146"/>
                      </a:cubicBezTo>
                      <a:cubicBezTo>
                        <a:pt x="237020" y="620318"/>
                        <a:pt x="355035" y="803726"/>
                        <a:pt x="238812" y="629392"/>
                      </a:cubicBezTo>
                      <a:lnTo>
                        <a:pt x="215062" y="593766"/>
                      </a:lnTo>
                      <a:lnTo>
                        <a:pt x="191311" y="558140"/>
                      </a:lnTo>
                      <a:cubicBezTo>
                        <a:pt x="160084" y="433230"/>
                        <a:pt x="206698" y="585068"/>
                        <a:pt x="143810" y="475013"/>
                      </a:cubicBezTo>
                      <a:cubicBezTo>
                        <a:pt x="135713" y="460842"/>
                        <a:pt x="136625" y="443145"/>
                        <a:pt x="131935" y="427512"/>
                      </a:cubicBezTo>
                      <a:cubicBezTo>
                        <a:pt x="124741" y="403532"/>
                        <a:pt x="116101" y="380011"/>
                        <a:pt x="108184" y="356260"/>
                      </a:cubicBezTo>
                      <a:lnTo>
                        <a:pt x="84433" y="285008"/>
                      </a:lnTo>
                      <a:cubicBezTo>
                        <a:pt x="53384" y="222909"/>
                        <a:pt x="64977" y="254681"/>
                        <a:pt x="48807" y="190005"/>
                      </a:cubicBezTo>
                      <a:cubicBezTo>
                        <a:pt x="44849" y="158338"/>
                        <a:pt x="42641" y="126402"/>
                        <a:pt x="36932" y="95003"/>
                      </a:cubicBezTo>
                      <a:cubicBezTo>
                        <a:pt x="25227" y="30624"/>
                        <a:pt x="26661" y="87138"/>
                        <a:pt x="1306" y="23751"/>
                      </a:cubicBezTo>
                      <a:cubicBezTo>
                        <a:pt x="-1634" y="16400"/>
                        <a:pt x="1306" y="7917"/>
                        <a:pt x="1306" y="0"/>
                      </a:cubicBezTo>
                    </a:path>
                  </a:pathLst>
                </a:custGeom>
                <a:noFill/>
                <a:ln w="571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  <p:sp>
              <p:nvSpPr>
                <p:cNvPr id="106" name="Freeform 105"/>
                <p:cNvSpPr/>
                <p:nvPr/>
              </p:nvSpPr>
              <p:spPr>
                <a:xfrm rot="402998">
                  <a:off x="2470066" y="1913766"/>
                  <a:ext cx="510639" cy="817559"/>
                </a:xfrm>
                <a:custGeom>
                  <a:avLst/>
                  <a:gdLst>
                    <a:gd name="connsiteX0" fmla="*/ 0 w 510639"/>
                    <a:gd name="connsiteY0" fmla="*/ 712520 h 712520"/>
                    <a:gd name="connsiteX1" fmla="*/ 23750 w 510639"/>
                    <a:gd name="connsiteY1" fmla="*/ 653143 h 712520"/>
                    <a:gd name="connsiteX2" fmla="*/ 35626 w 510639"/>
                    <a:gd name="connsiteY2" fmla="*/ 617517 h 712520"/>
                    <a:gd name="connsiteX3" fmla="*/ 59376 w 510639"/>
                    <a:gd name="connsiteY3" fmla="*/ 581891 h 712520"/>
                    <a:gd name="connsiteX4" fmla="*/ 106878 w 510639"/>
                    <a:gd name="connsiteY4" fmla="*/ 475013 h 712520"/>
                    <a:gd name="connsiteX5" fmla="*/ 118753 w 510639"/>
                    <a:gd name="connsiteY5" fmla="*/ 439387 h 712520"/>
                    <a:gd name="connsiteX6" fmla="*/ 166254 w 510639"/>
                    <a:gd name="connsiteY6" fmla="*/ 368135 h 712520"/>
                    <a:gd name="connsiteX7" fmla="*/ 178129 w 510639"/>
                    <a:gd name="connsiteY7" fmla="*/ 332509 h 712520"/>
                    <a:gd name="connsiteX8" fmla="*/ 225631 w 510639"/>
                    <a:gd name="connsiteY8" fmla="*/ 261257 h 712520"/>
                    <a:gd name="connsiteX9" fmla="*/ 285007 w 510639"/>
                    <a:gd name="connsiteY9" fmla="*/ 154379 h 712520"/>
                    <a:gd name="connsiteX10" fmla="*/ 308758 w 510639"/>
                    <a:gd name="connsiteY10" fmla="*/ 118753 h 712520"/>
                    <a:gd name="connsiteX11" fmla="*/ 332509 w 510639"/>
                    <a:gd name="connsiteY11" fmla="*/ 83127 h 712520"/>
                    <a:gd name="connsiteX12" fmla="*/ 368135 w 510639"/>
                    <a:gd name="connsiteY12" fmla="*/ 59377 h 712520"/>
                    <a:gd name="connsiteX13" fmla="*/ 475013 w 510639"/>
                    <a:gd name="connsiteY13" fmla="*/ 11876 h 712520"/>
                    <a:gd name="connsiteX14" fmla="*/ 510639 w 510639"/>
                    <a:gd name="connsiteY14" fmla="*/ 0 h 7125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510639" h="712520">
                      <a:moveTo>
                        <a:pt x="0" y="712520"/>
                      </a:moveTo>
                      <a:cubicBezTo>
                        <a:pt x="7917" y="692728"/>
                        <a:pt x="16265" y="673103"/>
                        <a:pt x="23750" y="653143"/>
                      </a:cubicBezTo>
                      <a:cubicBezTo>
                        <a:pt x="28145" y="641422"/>
                        <a:pt x="30028" y="628713"/>
                        <a:pt x="35626" y="617517"/>
                      </a:cubicBezTo>
                      <a:cubicBezTo>
                        <a:pt x="42009" y="604752"/>
                        <a:pt x="53580" y="594933"/>
                        <a:pt x="59376" y="581891"/>
                      </a:cubicBezTo>
                      <a:cubicBezTo>
                        <a:pt x="115901" y="454708"/>
                        <a:pt x="53129" y="555636"/>
                        <a:pt x="106878" y="475013"/>
                      </a:cubicBezTo>
                      <a:cubicBezTo>
                        <a:pt x="110836" y="463138"/>
                        <a:pt x="112674" y="450329"/>
                        <a:pt x="118753" y="439387"/>
                      </a:cubicBezTo>
                      <a:cubicBezTo>
                        <a:pt x="132615" y="414434"/>
                        <a:pt x="166254" y="368135"/>
                        <a:pt x="166254" y="368135"/>
                      </a:cubicBezTo>
                      <a:cubicBezTo>
                        <a:pt x="170212" y="356260"/>
                        <a:pt x="172050" y="343451"/>
                        <a:pt x="178129" y="332509"/>
                      </a:cubicBezTo>
                      <a:cubicBezTo>
                        <a:pt x="191992" y="307556"/>
                        <a:pt x="225631" y="261257"/>
                        <a:pt x="225631" y="261257"/>
                      </a:cubicBezTo>
                      <a:cubicBezTo>
                        <a:pt x="246532" y="198552"/>
                        <a:pt x="230563" y="236045"/>
                        <a:pt x="285007" y="154379"/>
                      </a:cubicBezTo>
                      <a:lnTo>
                        <a:pt x="308758" y="118753"/>
                      </a:lnTo>
                      <a:cubicBezTo>
                        <a:pt x="316675" y="106878"/>
                        <a:pt x="320634" y="91044"/>
                        <a:pt x="332509" y="83127"/>
                      </a:cubicBezTo>
                      <a:lnTo>
                        <a:pt x="368135" y="59377"/>
                      </a:lnTo>
                      <a:cubicBezTo>
                        <a:pt x="390951" y="-9074"/>
                        <a:pt x="365423" y="31802"/>
                        <a:pt x="475013" y="11876"/>
                      </a:cubicBezTo>
                      <a:cubicBezTo>
                        <a:pt x="487329" y="9637"/>
                        <a:pt x="510639" y="0"/>
                        <a:pt x="510639" y="0"/>
                      </a:cubicBezTo>
                    </a:path>
                  </a:pathLst>
                </a:custGeom>
                <a:noFill/>
                <a:ln w="571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</p:grpSp>
        </p:grpSp>
        <p:sp>
          <p:nvSpPr>
            <p:cNvPr id="101" name="Rectangle 100"/>
            <p:cNvSpPr/>
            <p:nvPr/>
          </p:nvSpPr>
          <p:spPr>
            <a:xfrm>
              <a:off x="3498073" y="1874122"/>
              <a:ext cx="2356735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2400" dirty="0" smtClean="0">
                  <a:solidFill>
                    <a:srgbClr val="FFFFFF"/>
                  </a:solidFill>
                  <a:latin typeface="MV Boli" panose="02000500030200090000" pitchFamily="2" charset="0"/>
                  <a:cs typeface="MV Boli" panose="02000500030200090000" pitchFamily="2" charset="0"/>
                </a:rPr>
                <a:t>Rapid Feedback</a:t>
              </a:r>
              <a:endParaRPr lang="en-GB" sz="24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36000" y="6546850"/>
            <a:ext cx="508000" cy="152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5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19" name="Freeform 18"/>
          <p:cNvSpPr/>
          <p:nvPr/>
        </p:nvSpPr>
        <p:spPr>
          <a:xfrm>
            <a:off x="1688123" y="2083972"/>
            <a:ext cx="67934" cy="3748035"/>
          </a:xfrm>
          <a:custGeom>
            <a:avLst/>
            <a:gdLst>
              <a:gd name="connsiteX0" fmla="*/ 0 w 67934"/>
              <a:gd name="connsiteY0" fmla="*/ 3748035 h 3748035"/>
              <a:gd name="connsiteX1" fmla="*/ 10048 w 67934"/>
              <a:gd name="connsiteY1" fmla="*/ 3114989 h 3748035"/>
              <a:gd name="connsiteX2" fmla="*/ 20097 w 67934"/>
              <a:gd name="connsiteY2" fmla="*/ 3024553 h 3748035"/>
              <a:gd name="connsiteX3" fmla="*/ 30145 w 67934"/>
              <a:gd name="connsiteY3" fmla="*/ 2823586 h 3748035"/>
              <a:gd name="connsiteX4" fmla="*/ 50242 w 67934"/>
              <a:gd name="connsiteY4" fmla="*/ 2743200 h 3748035"/>
              <a:gd name="connsiteX5" fmla="*/ 50242 w 67934"/>
              <a:gd name="connsiteY5" fmla="*/ 1617784 h 3748035"/>
              <a:gd name="connsiteX6" fmla="*/ 30145 w 67934"/>
              <a:gd name="connsiteY6" fmla="*/ 1024931 h 3748035"/>
              <a:gd name="connsiteX7" fmla="*/ 40193 w 67934"/>
              <a:gd name="connsiteY7" fmla="*/ 562707 h 3748035"/>
              <a:gd name="connsiteX8" fmla="*/ 30145 w 67934"/>
              <a:gd name="connsiteY8" fmla="*/ 140676 h 3748035"/>
              <a:gd name="connsiteX9" fmla="*/ 30145 w 67934"/>
              <a:gd name="connsiteY9" fmla="*/ 0 h 3748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7934" h="3748035">
                <a:moveTo>
                  <a:pt x="0" y="3748035"/>
                </a:moveTo>
                <a:cubicBezTo>
                  <a:pt x="3349" y="3537020"/>
                  <a:pt x="4188" y="3325950"/>
                  <a:pt x="10048" y="3114989"/>
                </a:cubicBezTo>
                <a:cubicBezTo>
                  <a:pt x="10890" y="3084670"/>
                  <a:pt x="18010" y="3054812"/>
                  <a:pt x="20097" y="3024553"/>
                </a:cubicBezTo>
                <a:cubicBezTo>
                  <a:pt x="24712" y="2957639"/>
                  <a:pt x="23000" y="2890277"/>
                  <a:pt x="30145" y="2823586"/>
                </a:cubicBezTo>
                <a:cubicBezTo>
                  <a:pt x="33087" y="2796123"/>
                  <a:pt x="50242" y="2743200"/>
                  <a:pt x="50242" y="2743200"/>
                </a:cubicBezTo>
                <a:cubicBezTo>
                  <a:pt x="79187" y="2280057"/>
                  <a:pt x="67799" y="2524914"/>
                  <a:pt x="50242" y="1617784"/>
                </a:cubicBezTo>
                <a:cubicBezTo>
                  <a:pt x="46416" y="1420090"/>
                  <a:pt x="30145" y="1024931"/>
                  <a:pt x="30145" y="1024931"/>
                </a:cubicBezTo>
                <a:cubicBezTo>
                  <a:pt x="33494" y="870856"/>
                  <a:pt x="40193" y="716818"/>
                  <a:pt x="40193" y="562707"/>
                </a:cubicBezTo>
                <a:cubicBezTo>
                  <a:pt x="40193" y="421990"/>
                  <a:pt x="32657" y="281370"/>
                  <a:pt x="30145" y="140676"/>
                </a:cubicBezTo>
                <a:cubicBezTo>
                  <a:pt x="29308" y="93791"/>
                  <a:pt x="30145" y="46892"/>
                  <a:pt x="30145" y="0"/>
                </a:cubicBezTo>
              </a:path>
            </a:pathLst>
          </a:cu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1688123" y="5747223"/>
            <a:ext cx="5325627" cy="45719"/>
          </a:xfrm>
          <a:custGeom>
            <a:avLst/>
            <a:gdLst>
              <a:gd name="connsiteX0" fmla="*/ 0 w 1919236"/>
              <a:gd name="connsiteY0" fmla="*/ 30145 h 30145"/>
              <a:gd name="connsiteX1" fmla="*/ 452176 w 1919236"/>
              <a:gd name="connsiteY1" fmla="*/ 20097 h 30145"/>
              <a:gd name="connsiteX2" fmla="*/ 622998 w 1919236"/>
              <a:gd name="connsiteY2" fmla="*/ 30145 h 30145"/>
              <a:gd name="connsiteX3" fmla="*/ 733530 w 1919236"/>
              <a:gd name="connsiteY3" fmla="*/ 20097 h 30145"/>
              <a:gd name="connsiteX4" fmla="*/ 803869 w 1919236"/>
              <a:gd name="connsiteY4" fmla="*/ 10048 h 30145"/>
              <a:gd name="connsiteX5" fmla="*/ 884255 w 1919236"/>
              <a:gd name="connsiteY5" fmla="*/ 0 h 30145"/>
              <a:gd name="connsiteX6" fmla="*/ 1818752 w 1919236"/>
              <a:gd name="connsiteY6" fmla="*/ 10048 h 30145"/>
              <a:gd name="connsiteX7" fmla="*/ 1848897 w 1919236"/>
              <a:gd name="connsiteY7" fmla="*/ 20097 h 30145"/>
              <a:gd name="connsiteX8" fmla="*/ 1919236 w 1919236"/>
              <a:gd name="connsiteY8" fmla="*/ 20097 h 30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9236" h="30145">
                <a:moveTo>
                  <a:pt x="0" y="30145"/>
                </a:moveTo>
                <a:cubicBezTo>
                  <a:pt x="150725" y="26796"/>
                  <a:pt x="301413" y="20097"/>
                  <a:pt x="452176" y="20097"/>
                </a:cubicBezTo>
                <a:cubicBezTo>
                  <a:pt x="509215" y="20097"/>
                  <a:pt x="565959" y="30145"/>
                  <a:pt x="622998" y="30145"/>
                </a:cubicBezTo>
                <a:cubicBezTo>
                  <a:pt x="659994" y="30145"/>
                  <a:pt x="696760" y="24183"/>
                  <a:pt x="733530" y="20097"/>
                </a:cubicBezTo>
                <a:cubicBezTo>
                  <a:pt x="757070" y="17481"/>
                  <a:pt x="780392" y="13178"/>
                  <a:pt x="803869" y="10048"/>
                </a:cubicBezTo>
                <a:lnTo>
                  <a:pt x="884255" y="0"/>
                </a:lnTo>
                <a:lnTo>
                  <a:pt x="1818752" y="10048"/>
                </a:lnTo>
                <a:cubicBezTo>
                  <a:pt x="1829342" y="10269"/>
                  <a:pt x="1838358" y="19043"/>
                  <a:pt x="1848897" y="20097"/>
                </a:cubicBezTo>
                <a:cubicBezTo>
                  <a:pt x="1872227" y="22430"/>
                  <a:pt x="1895790" y="20097"/>
                  <a:pt x="1919236" y="20097"/>
                </a:cubicBezTo>
              </a:path>
            </a:pathLst>
          </a:cu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Freeform 20"/>
          <p:cNvSpPr/>
          <p:nvPr/>
        </p:nvSpPr>
        <p:spPr>
          <a:xfrm>
            <a:off x="1728316" y="2083972"/>
            <a:ext cx="190946" cy="311498"/>
          </a:xfrm>
          <a:custGeom>
            <a:avLst/>
            <a:gdLst>
              <a:gd name="connsiteX0" fmla="*/ 0 w 190946"/>
              <a:gd name="connsiteY0" fmla="*/ 0 h 311498"/>
              <a:gd name="connsiteX1" fmla="*/ 90436 w 190946"/>
              <a:gd name="connsiteY1" fmla="*/ 80386 h 311498"/>
              <a:gd name="connsiteX2" fmla="*/ 110532 w 190946"/>
              <a:gd name="connsiteY2" fmla="*/ 110531 h 311498"/>
              <a:gd name="connsiteX3" fmla="*/ 130629 w 190946"/>
              <a:gd name="connsiteY3" fmla="*/ 140676 h 311498"/>
              <a:gd name="connsiteX4" fmla="*/ 140677 w 190946"/>
              <a:gd name="connsiteY4" fmla="*/ 180870 h 311498"/>
              <a:gd name="connsiteX5" fmla="*/ 160774 w 190946"/>
              <a:gd name="connsiteY5" fmla="*/ 211015 h 311498"/>
              <a:gd name="connsiteX6" fmla="*/ 180871 w 190946"/>
              <a:gd name="connsiteY6" fmla="*/ 271305 h 311498"/>
              <a:gd name="connsiteX7" fmla="*/ 190919 w 190946"/>
              <a:gd name="connsiteY7" fmla="*/ 311498 h 311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946" h="311498">
                <a:moveTo>
                  <a:pt x="0" y="0"/>
                </a:moveTo>
                <a:cubicBezTo>
                  <a:pt x="72667" y="29066"/>
                  <a:pt x="40238" y="5089"/>
                  <a:pt x="90436" y="80386"/>
                </a:cubicBezTo>
                <a:lnTo>
                  <a:pt x="110532" y="110531"/>
                </a:lnTo>
                <a:lnTo>
                  <a:pt x="130629" y="140676"/>
                </a:lnTo>
                <a:cubicBezTo>
                  <a:pt x="133978" y="154074"/>
                  <a:pt x="135237" y="168176"/>
                  <a:pt x="140677" y="180870"/>
                </a:cubicBezTo>
                <a:cubicBezTo>
                  <a:pt x="145434" y="191970"/>
                  <a:pt x="155869" y="199979"/>
                  <a:pt x="160774" y="211015"/>
                </a:cubicBezTo>
                <a:cubicBezTo>
                  <a:pt x="169378" y="230373"/>
                  <a:pt x="174172" y="251208"/>
                  <a:pt x="180871" y="271305"/>
                </a:cubicBezTo>
                <a:cubicBezTo>
                  <a:pt x="191978" y="304626"/>
                  <a:pt x="190919" y="290859"/>
                  <a:pt x="190919" y="311498"/>
                </a:cubicBezTo>
              </a:path>
            </a:pathLst>
          </a:cu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1497204" y="2104068"/>
            <a:ext cx="190919" cy="281354"/>
          </a:xfrm>
          <a:custGeom>
            <a:avLst/>
            <a:gdLst>
              <a:gd name="connsiteX0" fmla="*/ 0 w 190919"/>
              <a:gd name="connsiteY0" fmla="*/ 281354 h 281354"/>
              <a:gd name="connsiteX1" fmla="*/ 10049 w 190919"/>
              <a:gd name="connsiteY1" fmla="*/ 231112 h 281354"/>
              <a:gd name="connsiteX2" fmla="*/ 40194 w 190919"/>
              <a:gd name="connsiteY2" fmla="*/ 211016 h 281354"/>
              <a:gd name="connsiteX3" fmla="*/ 50242 w 190919"/>
              <a:gd name="connsiteY3" fmla="*/ 180871 h 281354"/>
              <a:gd name="connsiteX4" fmla="*/ 80387 w 190919"/>
              <a:gd name="connsiteY4" fmla="*/ 150725 h 281354"/>
              <a:gd name="connsiteX5" fmla="*/ 120581 w 190919"/>
              <a:gd name="connsiteY5" fmla="*/ 90435 h 281354"/>
              <a:gd name="connsiteX6" fmla="*/ 180871 w 190919"/>
              <a:gd name="connsiteY6" fmla="*/ 30145 h 281354"/>
              <a:gd name="connsiteX7" fmla="*/ 190919 w 190919"/>
              <a:gd name="connsiteY7" fmla="*/ 0 h 281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919" h="281354">
                <a:moveTo>
                  <a:pt x="0" y="281354"/>
                </a:moveTo>
                <a:cubicBezTo>
                  <a:pt x="3350" y="264607"/>
                  <a:pt x="1575" y="245941"/>
                  <a:pt x="10049" y="231112"/>
                </a:cubicBezTo>
                <a:cubicBezTo>
                  <a:pt x="16041" y="220627"/>
                  <a:pt x="32650" y="220446"/>
                  <a:pt x="40194" y="211016"/>
                </a:cubicBezTo>
                <a:cubicBezTo>
                  <a:pt x="46811" y="202745"/>
                  <a:pt x="44367" y="189684"/>
                  <a:pt x="50242" y="180871"/>
                </a:cubicBezTo>
                <a:cubicBezTo>
                  <a:pt x="58125" y="169047"/>
                  <a:pt x="71662" y="161942"/>
                  <a:pt x="80387" y="150725"/>
                </a:cubicBezTo>
                <a:cubicBezTo>
                  <a:pt x="95216" y="131660"/>
                  <a:pt x="103502" y="107514"/>
                  <a:pt x="120581" y="90435"/>
                </a:cubicBezTo>
                <a:lnTo>
                  <a:pt x="180871" y="30145"/>
                </a:lnTo>
                <a:lnTo>
                  <a:pt x="190919" y="0"/>
                </a:lnTo>
              </a:path>
            </a:pathLst>
          </a:cu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23" name="Freeform 22"/>
          <p:cNvSpPr/>
          <p:nvPr/>
        </p:nvSpPr>
        <p:spPr>
          <a:xfrm>
            <a:off x="6692204" y="5530554"/>
            <a:ext cx="371789" cy="241161"/>
          </a:xfrm>
          <a:custGeom>
            <a:avLst/>
            <a:gdLst>
              <a:gd name="connsiteX0" fmla="*/ 0 w 371789"/>
              <a:gd name="connsiteY0" fmla="*/ 0 h 241161"/>
              <a:gd name="connsiteX1" fmla="*/ 100483 w 371789"/>
              <a:gd name="connsiteY1" fmla="*/ 50242 h 241161"/>
              <a:gd name="connsiteX2" fmla="*/ 180870 w 371789"/>
              <a:gd name="connsiteY2" fmla="*/ 100484 h 241161"/>
              <a:gd name="connsiteX3" fmla="*/ 281354 w 371789"/>
              <a:gd name="connsiteY3" fmla="*/ 160774 h 241161"/>
              <a:gd name="connsiteX4" fmla="*/ 341644 w 371789"/>
              <a:gd name="connsiteY4" fmla="*/ 200967 h 241161"/>
              <a:gd name="connsiteX5" fmla="*/ 371789 w 371789"/>
              <a:gd name="connsiteY5" fmla="*/ 221064 h 241161"/>
              <a:gd name="connsiteX6" fmla="*/ 371789 w 371789"/>
              <a:gd name="connsiteY6" fmla="*/ 241161 h 241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1789" h="241161">
                <a:moveTo>
                  <a:pt x="0" y="0"/>
                </a:moveTo>
                <a:cubicBezTo>
                  <a:pt x="33494" y="16747"/>
                  <a:pt x="67441" y="32619"/>
                  <a:pt x="100483" y="50242"/>
                </a:cubicBezTo>
                <a:cubicBezTo>
                  <a:pt x="242632" y="126055"/>
                  <a:pt x="84047" y="45156"/>
                  <a:pt x="180870" y="100484"/>
                </a:cubicBezTo>
                <a:cubicBezTo>
                  <a:pt x="289017" y="162283"/>
                  <a:pt x="133865" y="62448"/>
                  <a:pt x="281354" y="160774"/>
                </a:cubicBezTo>
                <a:lnTo>
                  <a:pt x="341644" y="200967"/>
                </a:lnTo>
                <a:cubicBezTo>
                  <a:pt x="351692" y="207666"/>
                  <a:pt x="371789" y="208987"/>
                  <a:pt x="371789" y="221064"/>
                </a:cubicBezTo>
                <a:lnTo>
                  <a:pt x="371789" y="241161"/>
                </a:lnTo>
              </a:path>
            </a:pathLst>
          </a:cu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24" name="Freeform 23"/>
          <p:cNvSpPr/>
          <p:nvPr/>
        </p:nvSpPr>
        <p:spPr>
          <a:xfrm>
            <a:off x="6702252" y="5761670"/>
            <a:ext cx="351693" cy="221063"/>
          </a:xfrm>
          <a:custGeom>
            <a:avLst/>
            <a:gdLst>
              <a:gd name="connsiteX0" fmla="*/ 0 w 351693"/>
              <a:gd name="connsiteY0" fmla="*/ 221063 h 221063"/>
              <a:gd name="connsiteX1" fmla="*/ 50242 w 351693"/>
              <a:gd name="connsiteY1" fmla="*/ 190918 h 221063"/>
              <a:gd name="connsiteX2" fmla="*/ 100484 w 351693"/>
              <a:gd name="connsiteY2" fmla="*/ 170822 h 221063"/>
              <a:gd name="connsiteX3" fmla="*/ 130629 w 351693"/>
              <a:gd name="connsiteY3" fmla="*/ 160773 h 221063"/>
              <a:gd name="connsiteX4" fmla="*/ 160774 w 351693"/>
              <a:gd name="connsiteY4" fmla="*/ 140677 h 221063"/>
              <a:gd name="connsiteX5" fmla="*/ 200967 w 351693"/>
              <a:gd name="connsiteY5" fmla="*/ 120580 h 221063"/>
              <a:gd name="connsiteX6" fmla="*/ 261257 w 351693"/>
              <a:gd name="connsiteY6" fmla="*/ 90435 h 221063"/>
              <a:gd name="connsiteX7" fmla="*/ 291403 w 351693"/>
              <a:gd name="connsiteY7" fmla="*/ 70338 h 221063"/>
              <a:gd name="connsiteX8" fmla="*/ 321548 w 351693"/>
              <a:gd name="connsiteY8" fmla="*/ 60290 h 221063"/>
              <a:gd name="connsiteX9" fmla="*/ 341644 w 351693"/>
              <a:gd name="connsiteY9" fmla="*/ 30145 h 221063"/>
              <a:gd name="connsiteX10" fmla="*/ 351693 w 351693"/>
              <a:gd name="connsiteY10" fmla="*/ 0 h 221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1693" h="221063">
                <a:moveTo>
                  <a:pt x="0" y="221063"/>
                </a:moveTo>
                <a:cubicBezTo>
                  <a:pt x="16747" y="211015"/>
                  <a:pt x="32773" y="199652"/>
                  <a:pt x="50242" y="190918"/>
                </a:cubicBezTo>
                <a:cubicBezTo>
                  <a:pt x="66375" y="182852"/>
                  <a:pt x="83595" y="177155"/>
                  <a:pt x="100484" y="170822"/>
                </a:cubicBezTo>
                <a:cubicBezTo>
                  <a:pt x="110402" y="167103"/>
                  <a:pt x="121155" y="165510"/>
                  <a:pt x="130629" y="160773"/>
                </a:cubicBezTo>
                <a:cubicBezTo>
                  <a:pt x="141431" y="155372"/>
                  <a:pt x="150289" y="146669"/>
                  <a:pt x="160774" y="140677"/>
                </a:cubicBezTo>
                <a:cubicBezTo>
                  <a:pt x="173780" y="133245"/>
                  <a:pt x="187962" y="128012"/>
                  <a:pt x="200967" y="120580"/>
                </a:cubicBezTo>
                <a:cubicBezTo>
                  <a:pt x="255506" y="89414"/>
                  <a:pt x="205989" y="108857"/>
                  <a:pt x="261257" y="90435"/>
                </a:cubicBezTo>
                <a:cubicBezTo>
                  <a:pt x="271306" y="83736"/>
                  <a:pt x="280601" y="75739"/>
                  <a:pt x="291403" y="70338"/>
                </a:cubicBezTo>
                <a:cubicBezTo>
                  <a:pt x="300877" y="65601"/>
                  <a:pt x="313277" y="66907"/>
                  <a:pt x="321548" y="60290"/>
                </a:cubicBezTo>
                <a:cubicBezTo>
                  <a:pt x="330978" y="52746"/>
                  <a:pt x="336243" y="40947"/>
                  <a:pt x="341644" y="30145"/>
                </a:cubicBezTo>
                <a:cubicBezTo>
                  <a:pt x="346381" y="20671"/>
                  <a:pt x="351693" y="0"/>
                  <a:pt x="351693" y="0"/>
                </a:cubicBezTo>
              </a:path>
            </a:pathLst>
          </a:cu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221488" y="1560882"/>
            <a:ext cx="2276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2400" dirty="0" smtClean="0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Value Released</a:t>
            </a:r>
            <a:endParaRPr lang="en-GB" sz="24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005513" y="6063679"/>
            <a:ext cx="87716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2400" dirty="0" smtClean="0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Time</a:t>
            </a:r>
            <a:endParaRPr lang="en-GB" sz="24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756882" y="3279804"/>
            <a:ext cx="3393528" cy="2424848"/>
            <a:chOff x="1756882" y="2753327"/>
            <a:chExt cx="3393528" cy="2424848"/>
          </a:xfrm>
        </p:grpSpPr>
        <p:grpSp>
          <p:nvGrpSpPr>
            <p:cNvPr id="4" name="Group 3"/>
            <p:cNvGrpSpPr/>
            <p:nvPr/>
          </p:nvGrpSpPr>
          <p:grpSpPr>
            <a:xfrm>
              <a:off x="1756882" y="4303314"/>
              <a:ext cx="1607804" cy="874861"/>
              <a:chOff x="1756882" y="4303314"/>
              <a:chExt cx="1607804" cy="874861"/>
            </a:xfrm>
          </p:grpSpPr>
          <p:sp>
            <p:nvSpPr>
              <p:cNvPr id="33" name="Freeform 32"/>
              <p:cNvSpPr/>
              <p:nvPr/>
            </p:nvSpPr>
            <p:spPr>
              <a:xfrm>
                <a:off x="1756882" y="5132456"/>
                <a:ext cx="1584946" cy="45719"/>
              </a:xfrm>
              <a:custGeom>
                <a:avLst/>
                <a:gdLst>
                  <a:gd name="connsiteX0" fmla="*/ 0 w 4756935"/>
                  <a:gd name="connsiteY0" fmla="*/ 82193 h 102742"/>
                  <a:gd name="connsiteX1" fmla="*/ 893852 w 4756935"/>
                  <a:gd name="connsiteY1" fmla="*/ 71919 h 102742"/>
                  <a:gd name="connsiteX2" fmla="*/ 934948 w 4756935"/>
                  <a:gd name="connsiteY2" fmla="*/ 61645 h 102742"/>
                  <a:gd name="connsiteX3" fmla="*/ 1078787 w 4756935"/>
                  <a:gd name="connsiteY3" fmla="*/ 51371 h 102742"/>
                  <a:gd name="connsiteX4" fmla="*/ 1171254 w 4756935"/>
                  <a:gd name="connsiteY4" fmla="*/ 61645 h 102742"/>
                  <a:gd name="connsiteX5" fmla="*/ 1212351 w 4756935"/>
                  <a:gd name="connsiteY5" fmla="*/ 71919 h 102742"/>
                  <a:gd name="connsiteX6" fmla="*/ 1407560 w 4756935"/>
                  <a:gd name="connsiteY6" fmla="*/ 61645 h 102742"/>
                  <a:gd name="connsiteX7" fmla="*/ 1643865 w 4756935"/>
                  <a:gd name="connsiteY7" fmla="*/ 71919 h 102742"/>
                  <a:gd name="connsiteX8" fmla="*/ 1715784 w 4756935"/>
                  <a:gd name="connsiteY8" fmla="*/ 92467 h 102742"/>
                  <a:gd name="connsiteX9" fmla="*/ 1756881 w 4756935"/>
                  <a:gd name="connsiteY9" fmla="*/ 102742 h 102742"/>
                  <a:gd name="connsiteX10" fmla="*/ 1921267 w 4756935"/>
                  <a:gd name="connsiteY10" fmla="*/ 92467 h 102742"/>
                  <a:gd name="connsiteX11" fmla="*/ 2013735 w 4756935"/>
                  <a:gd name="connsiteY11" fmla="*/ 82193 h 102742"/>
                  <a:gd name="connsiteX12" fmla="*/ 2147299 w 4756935"/>
                  <a:gd name="connsiteY12" fmla="*/ 71919 h 102742"/>
                  <a:gd name="connsiteX13" fmla="*/ 2260315 w 4756935"/>
                  <a:gd name="connsiteY13" fmla="*/ 61645 h 102742"/>
                  <a:gd name="connsiteX14" fmla="*/ 2465798 w 4756935"/>
                  <a:gd name="connsiteY14" fmla="*/ 41097 h 102742"/>
                  <a:gd name="connsiteX15" fmla="*/ 2558265 w 4756935"/>
                  <a:gd name="connsiteY15" fmla="*/ 30822 h 102742"/>
                  <a:gd name="connsiteX16" fmla="*/ 2732926 w 4756935"/>
                  <a:gd name="connsiteY16" fmla="*/ 10274 h 102742"/>
                  <a:gd name="connsiteX17" fmla="*/ 2825393 w 4756935"/>
                  <a:gd name="connsiteY17" fmla="*/ 0 h 102742"/>
                  <a:gd name="connsiteX18" fmla="*/ 3041151 w 4756935"/>
                  <a:gd name="connsiteY18" fmla="*/ 10274 h 102742"/>
                  <a:gd name="connsiteX19" fmla="*/ 3626778 w 4756935"/>
                  <a:gd name="connsiteY19" fmla="*/ 30822 h 102742"/>
                  <a:gd name="connsiteX20" fmla="*/ 3678148 w 4756935"/>
                  <a:gd name="connsiteY20" fmla="*/ 41097 h 102742"/>
                  <a:gd name="connsiteX21" fmla="*/ 3791164 w 4756935"/>
                  <a:gd name="connsiteY21" fmla="*/ 51371 h 102742"/>
                  <a:gd name="connsiteX22" fmla="*/ 3873357 w 4756935"/>
                  <a:gd name="connsiteY22" fmla="*/ 61645 h 102742"/>
                  <a:gd name="connsiteX23" fmla="*/ 4017196 w 4756935"/>
                  <a:gd name="connsiteY23" fmla="*/ 61645 h 102742"/>
                  <a:gd name="connsiteX24" fmla="*/ 4068566 w 4756935"/>
                  <a:gd name="connsiteY24" fmla="*/ 51371 h 102742"/>
                  <a:gd name="connsiteX25" fmla="*/ 4479533 w 4756935"/>
                  <a:gd name="connsiteY25" fmla="*/ 41097 h 102742"/>
                  <a:gd name="connsiteX26" fmla="*/ 4654193 w 4756935"/>
                  <a:gd name="connsiteY26" fmla="*/ 30822 h 102742"/>
                  <a:gd name="connsiteX27" fmla="*/ 4756935 w 4756935"/>
                  <a:gd name="connsiteY27" fmla="*/ 20548 h 102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756935" h="102742">
                    <a:moveTo>
                      <a:pt x="0" y="82193"/>
                    </a:moveTo>
                    <a:lnTo>
                      <a:pt x="893852" y="71919"/>
                    </a:lnTo>
                    <a:cubicBezTo>
                      <a:pt x="907969" y="71609"/>
                      <a:pt x="920914" y="63204"/>
                      <a:pt x="934948" y="61645"/>
                    </a:cubicBezTo>
                    <a:cubicBezTo>
                      <a:pt x="982722" y="56337"/>
                      <a:pt x="1030841" y="54796"/>
                      <a:pt x="1078787" y="51371"/>
                    </a:cubicBezTo>
                    <a:cubicBezTo>
                      <a:pt x="1109609" y="54796"/>
                      <a:pt x="1140603" y="56929"/>
                      <a:pt x="1171254" y="61645"/>
                    </a:cubicBezTo>
                    <a:cubicBezTo>
                      <a:pt x="1185210" y="63792"/>
                      <a:pt x="1198230" y="71919"/>
                      <a:pt x="1212351" y="71919"/>
                    </a:cubicBezTo>
                    <a:cubicBezTo>
                      <a:pt x="1277511" y="71919"/>
                      <a:pt x="1342490" y="65070"/>
                      <a:pt x="1407560" y="61645"/>
                    </a:cubicBezTo>
                    <a:cubicBezTo>
                      <a:pt x="1486328" y="65070"/>
                      <a:pt x="1565238" y="66095"/>
                      <a:pt x="1643865" y="71919"/>
                    </a:cubicBezTo>
                    <a:cubicBezTo>
                      <a:pt x="1665545" y="73525"/>
                      <a:pt x="1694515" y="86390"/>
                      <a:pt x="1715784" y="92467"/>
                    </a:cubicBezTo>
                    <a:cubicBezTo>
                      <a:pt x="1729361" y="96346"/>
                      <a:pt x="1743182" y="99317"/>
                      <a:pt x="1756881" y="102742"/>
                    </a:cubicBezTo>
                    <a:lnTo>
                      <a:pt x="1921267" y="92467"/>
                    </a:lnTo>
                    <a:cubicBezTo>
                      <a:pt x="1952181" y="89994"/>
                      <a:pt x="1982850" y="85001"/>
                      <a:pt x="2013735" y="82193"/>
                    </a:cubicBezTo>
                    <a:cubicBezTo>
                      <a:pt x="2058204" y="78150"/>
                      <a:pt x="2102800" y="75627"/>
                      <a:pt x="2147299" y="71919"/>
                    </a:cubicBezTo>
                    <a:lnTo>
                      <a:pt x="2260315" y="61645"/>
                    </a:lnTo>
                    <a:cubicBezTo>
                      <a:pt x="2370484" y="39611"/>
                      <a:pt x="2269750" y="57435"/>
                      <a:pt x="2465798" y="41097"/>
                    </a:cubicBezTo>
                    <a:cubicBezTo>
                      <a:pt x="2496703" y="38522"/>
                      <a:pt x="2527443" y="34247"/>
                      <a:pt x="2558265" y="30822"/>
                    </a:cubicBezTo>
                    <a:cubicBezTo>
                      <a:pt x="2646786" y="8692"/>
                      <a:pt x="2572303" y="24876"/>
                      <a:pt x="2732926" y="10274"/>
                    </a:cubicBezTo>
                    <a:cubicBezTo>
                      <a:pt x="2763811" y="7466"/>
                      <a:pt x="2794571" y="3425"/>
                      <a:pt x="2825393" y="0"/>
                    </a:cubicBezTo>
                    <a:lnTo>
                      <a:pt x="3041151" y="10274"/>
                    </a:lnTo>
                    <a:cubicBezTo>
                      <a:pt x="3619391" y="27535"/>
                      <a:pt x="3340556" y="4802"/>
                      <a:pt x="3626778" y="30822"/>
                    </a:cubicBezTo>
                    <a:cubicBezTo>
                      <a:pt x="3643901" y="34247"/>
                      <a:pt x="3660820" y="38931"/>
                      <a:pt x="3678148" y="41097"/>
                    </a:cubicBezTo>
                    <a:cubicBezTo>
                      <a:pt x="3715683" y="45789"/>
                      <a:pt x="3753544" y="47411"/>
                      <a:pt x="3791164" y="51371"/>
                    </a:cubicBezTo>
                    <a:cubicBezTo>
                      <a:pt x="3818623" y="54261"/>
                      <a:pt x="3845959" y="58220"/>
                      <a:pt x="3873357" y="61645"/>
                    </a:cubicBezTo>
                    <a:cubicBezTo>
                      <a:pt x="3937430" y="83002"/>
                      <a:pt x="3902603" y="75969"/>
                      <a:pt x="4017196" y="61645"/>
                    </a:cubicBezTo>
                    <a:cubicBezTo>
                      <a:pt x="4034524" y="59479"/>
                      <a:pt x="4051121" y="52146"/>
                      <a:pt x="4068566" y="51371"/>
                    </a:cubicBezTo>
                    <a:cubicBezTo>
                      <a:pt x="4205463" y="45287"/>
                      <a:pt x="4342544" y="44522"/>
                      <a:pt x="4479533" y="41097"/>
                    </a:cubicBezTo>
                    <a:cubicBezTo>
                      <a:pt x="4537753" y="37672"/>
                      <a:pt x="4596092" y="35874"/>
                      <a:pt x="4654193" y="30822"/>
                    </a:cubicBezTo>
                    <a:cubicBezTo>
                      <a:pt x="4798238" y="18296"/>
                      <a:pt x="4649706" y="20548"/>
                      <a:pt x="4756935" y="20548"/>
                    </a:cubicBezTo>
                  </a:path>
                </a:pathLst>
              </a:custGeom>
              <a:noFill/>
              <a:ln w="57150"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Freeform 33"/>
              <p:cNvSpPr/>
              <p:nvPr/>
            </p:nvSpPr>
            <p:spPr>
              <a:xfrm>
                <a:off x="3318967" y="4303314"/>
                <a:ext cx="45719" cy="852001"/>
              </a:xfrm>
              <a:custGeom>
                <a:avLst/>
                <a:gdLst>
                  <a:gd name="connsiteX0" fmla="*/ 0 w 123290"/>
                  <a:gd name="connsiteY0" fmla="*/ 0 h 3133618"/>
                  <a:gd name="connsiteX1" fmla="*/ 10274 w 123290"/>
                  <a:gd name="connsiteY1" fmla="*/ 246580 h 3133618"/>
                  <a:gd name="connsiteX2" fmla="*/ 20548 w 123290"/>
                  <a:gd name="connsiteY2" fmla="*/ 297951 h 3133618"/>
                  <a:gd name="connsiteX3" fmla="*/ 41096 w 123290"/>
                  <a:gd name="connsiteY3" fmla="*/ 575353 h 3133618"/>
                  <a:gd name="connsiteX4" fmla="*/ 51370 w 123290"/>
                  <a:gd name="connsiteY4" fmla="*/ 647272 h 3133618"/>
                  <a:gd name="connsiteX5" fmla="*/ 61645 w 123290"/>
                  <a:gd name="connsiteY5" fmla="*/ 678094 h 3133618"/>
                  <a:gd name="connsiteX6" fmla="*/ 51370 w 123290"/>
                  <a:gd name="connsiteY6" fmla="*/ 770562 h 3133618"/>
                  <a:gd name="connsiteX7" fmla="*/ 61645 w 123290"/>
                  <a:gd name="connsiteY7" fmla="*/ 1325366 h 3133618"/>
                  <a:gd name="connsiteX8" fmla="*/ 71919 w 123290"/>
                  <a:gd name="connsiteY8" fmla="*/ 1376737 h 3133618"/>
                  <a:gd name="connsiteX9" fmla="*/ 82193 w 123290"/>
                  <a:gd name="connsiteY9" fmla="*/ 1479479 h 3133618"/>
                  <a:gd name="connsiteX10" fmla="*/ 102741 w 123290"/>
                  <a:gd name="connsiteY10" fmla="*/ 1561672 h 3133618"/>
                  <a:gd name="connsiteX11" fmla="*/ 123290 w 123290"/>
                  <a:gd name="connsiteY11" fmla="*/ 1684962 h 3133618"/>
                  <a:gd name="connsiteX12" fmla="*/ 113015 w 123290"/>
                  <a:gd name="connsiteY12" fmla="*/ 2024009 h 3133618"/>
                  <a:gd name="connsiteX13" fmla="*/ 102741 w 123290"/>
                  <a:gd name="connsiteY13" fmla="*/ 2178121 h 3133618"/>
                  <a:gd name="connsiteX14" fmla="*/ 92467 w 123290"/>
                  <a:gd name="connsiteY14" fmla="*/ 2876764 h 3133618"/>
                  <a:gd name="connsiteX15" fmla="*/ 82193 w 123290"/>
                  <a:gd name="connsiteY15" fmla="*/ 2907587 h 3133618"/>
                  <a:gd name="connsiteX16" fmla="*/ 71919 w 123290"/>
                  <a:gd name="connsiteY16" fmla="*/ 2948683 h 3133618"/>
                  <a:gd name="connsiteX17" fmla="*/ 61645 w 123290"/>
                  <a:gd name="connsiteY17" fmla="*/ 3133618 h 3133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3290" h="3133618">
                    <a:moveTo>
                      <a:pt x="0" y="0"/>
                    </a:moveTo>
                    <a:cubicBezTo>
                      <a:pt x="3425" y="82193"/>
                      <a:pt x="4614" y="164510"/>
                      <a:pt x="10274" y="246580"/>
                    </a:cubicBezTo>
                    <a:cubicBezTo>
                      <a:pt x="11475" y="264001"/>
                      <a:pt x="19347" y="280530"/>
                      <a:pt x="20548" y="297951"/>
                    </a:cubicBezTo>
                    <a:cubicBezTo>
                      <a:pt x="40133" y="581931"/>
                      <a:pt x="3642" y="462988"/>
                      <a:pt x="41096" y="575353"/>
                    </a:cubicBezTo>
                    <a:cubicBezTo>
                      <a:pt x="44521" y="599326"/>
                      <a:pt x="46621" y="623526"/>
                      <a:pt x="51370" y="647272"/>
                    </a:cubicBezTo>
                    <a:cubicBezTo>
                      <a:pt x="53494" y="657892"/>
                      <a:pt x="61645" y="667264"/>
                      <a:pt x="61645" y="678094"/>
                    </a:cubicBezTo>
                    <a:cubicBezTo>
                      <a:pt x="61645" y="709106"/>
                      <a:pt x="54795" y="739739"/>
                      <a:pt x="51370" y="770562"/>
                    </a:cubicBezTo>
                    <a:cubicBezTo>
                      <a:pt x="54795" y="955497"/>
                      <a:pt x="55378" y="1140506"/>
                      <a:pt x="61645" y="1325366"/>
                    </a:cubicBezTo>
                    <a:cubicBezTo>
                      <a:pt x="62237" y="1342819"/>
                      <a:pt x="69611" y="1359427"/>
                      <a:pt x="71919" y="1376737"/>
                    </a:cubicBezTo>
                    <a:cubicBezTo>
                      <a:pt x="76468" y="1410853"/>
                      <a:pt x="77644" y="1445363"/>
                      <a:pt x="82193" y="1479479"/>
                    </a:cubicBezTo>
                    <a:cubicBezTo>
                      <a:pt x="102566" y="1632278"/>
                      <a:pt x="81999" y="1457964"/>
                      <a:pt x="102741" y="1561672"/>
                    </a:cubicBezTo>
                    <a:cubicBezTo>
                      <a:pt x="110912" y="1602526"/>
                      <a:pt x="123290" y="1684962"/>
                      <a:pt x="123290" y="1684962"/>
                    </a:cubicBezTo>
                    <a:cubicBezTo>
                      <a:pt x="119865" y="1797978"/>
                      <a:pt x="117722" y="1911039"/>
                      <a:pt x="113015" y="2024009"/>
                    </a:cubicBezTo>
                    <a:cubicBezTo>
                      <a:pt x="110872" y="2075449"/>
                      <a:pt x="103981" y="2126651"/>
                      <a:pt x="102741" y="2178121"/>
                    </a:cubicBezTo>
                    <a:cubicBezTo>
                      <a:pt x="97131" y="2410960"/>
                      <a:pt x="99025" y="2643950"/>
                      <a:pt x="92467" y="2876764"/>
                    </a:cubicBezTo>
                    <a:cubicBezTo>
                      <a:pt x="92162" y="2887590"/>
                      <a:pt x="85168" y="2897174"/>
                      <a:pt x="82193" y="2907587"/>
                    </a:cubicBezTo>
                    <a:cubicBezTo>
                      <a:pt x="78314" y="2921164"/>
                      <a:pt x="75344" y="2934984"/>
                      <a:pt x="71919" y="2948683"/>
                    </a:cubicBezTo>
                    <a:lnTo>
                      <a:pt x="61645" y="3133618"/>
                    </a:lnTo>
                  </a:path>
                </a:pathLst>
              </a:custGeom>
              <a:noFill/>
              <a:ln w="57150"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5" name="Group 4"/>
            <p:cNvGrpSpPr/>
            <p:nvPr/>
          </p:nvGrpSpPr>
          <p:grpSpPr>
            <a:xfrm>
              <a:off x="3281575" y="2753327"/>
              <a:ext cx="1868835" cy="1625645"/>
              <a:chOff x="3281575" y="2753327"/>
              <a:chExt cx="1868835" cy="1625645"/>
            </a:xfrm>
          </p:grpSpPr>
          <p:grpSp>
            <p:nvGrpSpPr>
              <p:cNvPr id="45" name="Group 44"/>
              <p:cNvGrpSpPr/>
              <p:nvPr/>
            </p:nvGrpSpPr>
            <p:grpSpPr>
              <a:xfrm>
                <a:off x="3281576" y="2753327"/>
                <a:ext cx="1607804" cy="1621971"/>
                <a:chOff x="1756882" y="3556204"/>
                <a:chExt cx="1607804" cy="1621971"/>
              </a:xfrm>
            </p:grpSpPr>
            <p:sp>
              <p:nvSpPr>
                <p:cNvPr id="47" name="Freeform 46"/>
                <p:cNvSpPr/>
                <p:nvPr/>
              </p:nvSpPr>
              <p:spPr>
                <a:xfrm>
                  <a:off x="3318967" y="3556204"/>
                  <a:ext cx="45719" cy="1588539"/>
                </a:xfrm>
                <a:custGeom>
                  <a:avLst/>
                  <a:gdLst>
                    <a:gd name="connsiteX0" fmla="*/ 0 w 123290"/>
                    <a:gd name="connsiteY0" fmla="*/ 0 h 3133618"/>
                    <a:gd name="connsiteX1" fmla="*/ 10274 w 123290"/>
                    <a:gd name="connsiteY1" fmla="*/ 246580 h 3133618"/>
                    <a:gd name="connsiteX2" fmla="*/ 20548 w 123290"/>
                    <a:gd name="connsiteY2" fmla="*/ 297951 h 3133618"/>
                    <a:gd name="connsiteX3" fmla="*/ 41096 w 123290"/>
                    <a:gd name="connsiteY3" fmla="*/ 575353 h 3133618"/>
                    <a:gd name="connsiteX4" fmla="*/ 51370 w 123290"/>
                    <a:gd name="connsiteY4" fmla="*/ 647272 h 3133618"/>
                    <a:gd name="connsiteX5" fmla="*/ 61645 w 123290"/>
                    <a:gd name="connsiteY5" fmla="*/ 678094 h 3133618"/>
                    <a:gd name="connsiteX6" fmla="*/ 51370 w 123290"/>
                    <a:gd name="connsiteY6" fmla="*/ 770562 h 3133618"/>
                    <a:gd name="connsiteX7" fmla="*/ 61645 w 123290"/>
                    <a:gd name="connsiteY7" fmla="*/ 1325366 h 3133618"/>
                    <a:gd name="connsiteX8" fmla="*/ 71919 w 123290"/>
                    <a:gd name="connsiteY8" fmla="*/ 1376737 h 3133618"/>
                    <a:gd name="connsiteX9" fmla="*/ 82193 w 123290"/>
                    <a:gd name="connsiteY9" fmla="*/ 1479479 h 3133618"/>
                    <a:gd name="connsiteX10" fmla="*/ 102741 w 123290"/>
                    <a:gd name="connsiteY10" fmla="*/ 1561672 h 3133618"/>
                    <a:gd name="connsiteX11" fmla="*/ 123290 w 123290"/>
                    <a:gd name="connsiteY11" fmla="*/ 1684962 h 3133618"/>
                    <a:gd name="connsiteX12" fmla="*/ 113015 w 123290"/>
                    <a:gd name="connsiteY12" fmla="*/ 2024009 h 3133618"/>
                    <a:gd name="connsiteX13" fmla="*/ 102741 w 123290"/>
                    <a:gd name="connsiteY13" fmla="*/ 2178121 h 3133618"/>
                    <a:gd name="connsiteX14" fmla="*/ 92467 w 123290"/>
                    <a:gd name="connsiteY14" fmla="*/ 2876764 h 3133618"/>
                    <a:gd name="connsiteX15" fmla="*/ 82193 w 123290"/>
                    <a:gd name="connsiteY15" fmla="*/ 2907587 h 3133618"/>
                    <a:gd name="connsiteX16" fmla="*/ 71919 w 123290"/>
                    <a:gd name="connsiteY16" fmla="*/ 2948683 h 3133618"/>
                    <a:gd name="connsiteX17" fmla="*/ 61645 w 123290"/>
                    <a:gd name="connsiteY17" fmla="*/ 3133618 h 3133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23290" h="3133618">
                      <a:moveTo>
                        <a:pt x="0" y="0"/>
                      </a:moveTo>
                      <a:cubicBezTo>
                        <a:pt x="3425" y="82193"/>
                        <a:pt x="4614" y="164510"/>
                        <a:pt x="10274" y="246580"/>
                      </a:cubicBezTo>
                      <a:cubicBezTo>
                        <a:pt x="11475" y="264001"/>
                        <a:pt x="19347" y="280530"/>
                        <a:pt x="20548" y="297951"/>
                      </a:cubicBezTo>
                      <a:cubicBezTo>
                        <a:pt x="40133" y="581931"/>
                        <a:pt x="3642" y="462988"/>
                        <a:pt x="41096" y="575353"/>
                      </a:cubicBezTo>
                      <a:cubicBezTo>
                        <a:pt x="44521" y="599326"/>
                        <a:pt x="46621" y="623526"/>
                        <a:pt x="51370" y="647272"/>
                      </a:cubicBezTo>
                      <a:cubicBezTo>
                        <a:pt x="53494" y="657892"/>
                        <a:pt x="61645" y="667264"/>
                        <a:pt x="61645" y="678094"/>
                      </a:cubicBezTo>
                      <a:cubicBezTo>
                        <a:pt x="61645" y="709106"/>
                        <a:pt x="54795" y="739739"/>
                        <a:pt x="51370" y="770562"/>
                      </a:cubicBezTo>
                      <a:cubicBezTo>
                        <a:pt x="54795" y="955497"/>
                        <a:pt x="55378" y="1140506"/>
                        <a:pt x="61645" y="1325366"/>
                      </a:cubicBezTo>
                      <a:cubicBezTo>
                        <a:pt x="62237" y="1342819"/>
                        <a:pt x="69611" y="1359427"/>
                        <a:pt x="71919" y="1376737"/>
                      </a:cubicBezTo>
                      <a:cubicBezTo>
                        <a:pt x="76468" y="1410853"/>
                        <a:pt x="77644" y="1445363"/>
                        <a:pt x="82193" y="1479479"/>
                      </a:cubicBezTo>
                      <a:cubicBezTo>
                        <a:pt x="102566" y="1632278"/>
                        <a:pt x="81999" y="1457964"/>
                        <a:pt x="102741" y="1561672"/>
                      </a:cubicBezTo>
                      <a:cubicBezTo>
                        <a:pt x="110912" y="1602526"/>
                        <a:pt x="123290" y="1684962"/>
                        <a:pt x="123290" y="1684962"/>
                      </a:cubicBezTo>
                      <a:cubicBezTo>
                        <a:pt x="119865" y="1797978"/>
                        <a:pt x="117722" y="1911039"/>
                        <a:pt x="113015" y="2024009"/>
                      </a:cubicBezTo>
                      <a:cubicBezTo>
                        <a:pt x="110872" y="2075449"/>
                        <a:pt x="103981" y="2126651"/>
                        <a:pt x="102741" y="2178121"/>
                      </a:cubicBezTo>
                      <a:cubicBezTo>
                        <a:pt x="97131" y="2410960"/>
                        <a:pt x="99025" y="2643950"/>
                        <a:pt x="92467" y="2876764"/>
                      </a:cubicBezTo>
                      <a:cubicBezTo>
                        <a:pt x="92162" y="2887590"/>
                        <a:pt x="85168" y="2897174"/>
                        <a:pt x="82193" y="2907587"/>
                      </a:cubicBezTo>
                      <a:cubicBezTo>
                        <a:pt x="78314" y="2921164"/>
                        <a:pt x="75344" y="2934984"/>
                        <a:pt x="71919" y="2948683"/>
                      </a:cubicBezTo>
                      <a:lnTo>
                        <a:pt x="61645" y="3133618"/>
                      </a:lnTo>
                    </a:path>
                  </a:pathLst>
                </a:custGeom>
                <a:noFill/>
                <a:ln w="57150">
                  <a:solidFill>
                    <a:srgbClr val="FFFF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6" name="Freeform 45"/>
                <p:cNvSpPr/>
                <p:nvPr/>
              </p:nvSpPr>
              <p:spPr>
                <a:xfrm>
                  <a:off x="1756882" y="5132456"/>
                  <a:ext cx="1584946" cy="45719"/>
                </a:xfrm>
                <a:custGeom>
                  <a:avLst/>
                  <a:gdLst>
                    <a:gd name="connsiteX0" fmla="*/ 0 w 4756935"/>
                    <a:gd name="connsiteY0" fmla="*/ 82193 h 102742"/>
                    <a:gd name="connsiteX1" fmla="*/ 893852 w 4756935"/>
                    <a:gd name="connsiteY1" fmla="*/ 71919 h 102742"/>
                    <a:gd name="connsiteX2" fmla="*/ 934948 w 4756935"/>
                    <a:gd name="connsiteY2" fmla="*/ 61645 h 102742"/>
                    <a:gd name="connsiteX3" fmla="*/ 1078787 w 4756935"/>
                    <a:gd name="connsiteY3" fmla="*/ 51371 h 102742"/>
                    <a:gd name="connsiteX4" fmla="*/ 1171254 w 4756935"/>
                    <a:gd name="connsiteY4" fmla="*/ 61645 h 102742"/>
                    <a:gd name="connsiteX5" fmla="*/ 1212351 w 4756935"/>
                    <a:gd name="connsiteY5" fmla="*/ 71919 h 102742"/>
                    <a:gd name="connsiteX6" fmla="*/ 1407560 w 4756935"/>
                    <a:gd name="connsiteY6" fmla="*/ 61645 h 102742"/>
                    <a:gd name="connsiteX7" fmla="*/ 1643865 w 4756935"/>
                    <a:gd name="connsiteY7" fmla="*/ 71919 h 102742"/>
                    <a:gd name="connsiteX8" fmla="*/ 1715784 w 4756935"/>
                    <a:gd name="connsiteY8" fmla="*/ 92467 h 102742"/>
                    <a:gd name="connsiteX9" fmla="*/ 1756881 w 4756935"/>
                    <a:gd name="connsiteY9" fmla="*/ 102742 h 102742"/>
                    <a:gd name="connsiteX10" fmla="*/ 1921267 w 4756935"/>
                    <a:gd name="connsiteY10" fmla="*/ 92467 h 102742"/>
                    <a:gd name="connsiteX11" fmla="*/ 2013735 w 4756935"/>
                    <a:gd name="connsiteY11" fmla="*/ 82193 h 102742"/>
                    <a:gd name="connsiteX12" fmla="*/ 2147299 w 4756935"/>
                    <a:gd name="connsiteY12" fmla="*/ 71919 h 102742"/>
                    <a:gd name="connsiteX13" fmla="*/ 2260315 w 4756935"/>
                    <a:gd name="connsiteY13" fmla="*/ 61645 h 102742"/>
                    <a:gd name="connsiteX14" fmla="*/ 2465798 w 4756935"/>
                    <a:gd name="connsiteY14" fmla="*/ 41097 h 102742"/>
                    <a:gd name="connsiteX15" fmla="*/ 2558265 w 4756935"/>
                    <a:gd name="connsiteY15" fmla="*/ 30822 h 102742"/>
                    <a:gd name="connsiteX16" fmla="*/ 2732926 w 4756935"/>
                    <a:gd name="connsiteY16" fmla="*/ 10274 h 102742"/>
                    <a:gd name="connsiteX17" fmla="*/ 2825393 w 4756935"/>
                    <a:gd name="connsiteY17" fmla="*/ 0 h 102742"/>
                    <a:gd name="connsiteX18" fmla="*/ 3041151 w 4756935"/>
                    <a:gd name="connsiteY18" fmla="*/ 10274 h 102742"/>
                    <a:gd name="connsiteX19" fmla="*/ 3626778 w 4756935"/>
                    <a:gd name="connsiteY19" fmla="*/ 30822 h 102742"/>
                    <a:gd name="connsiteX20" fmla="*/ 3678148 w 4756935"/>
                    <a:gd name="connsiteY20" fmla="*/ 41097 h 102742"/>
                    <a:gd name="connsiteX21" fmla="*/ 3791164 w 4756935"/>
                    <a:gd name="connsiteY21" fmla="*/ 51371 h 102742"/>
                    <a:gd name="connsiteX22" fmla="*/ 3873357 w 4756935"/>
                    <a:gd name="connsiteY22" fmla="*/ 61645 h 102742"/>
                    <a:gd name="connsiteX23" fmla="*/ 4017196 w 4756935"/>
                    <a:gd name="connsiteY23" fmla="*/ 61645 h 102742"/>
                    <a:gd name="connsiteX24" fmla="*/ 4068566 w 4756935"/>
                    <a:gd name="connsiteY24" fmla="*/ 51371 h 102742"/>
                    <a:gd name="connsiteX25" fmla="*/ 4479533 w 4756935"/>
                    <a:gd name="connsiteY25" fmla="*/ 41097 h 102742"/>
                    <a:gd name="connsiteX26" fmla="*/ 4654193 w 4756935"/>
                    <a:gd name="connsiteY26" fmla="*/ 30822 h 102742"/>
                    <a:gd name="connsiteX27" fmla="*/ 4756935 w 4756935"/>
                    <a:gd name="connsiteY27" fmla="*/ 20548 h 1027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4756935" h="102742">
                      <a:moveTo>
                        <a:pt x="0" y="82193"/>
                      </a:moveTo>
                      <a:lnTo>
                        <a:pt x="893852" y="71919"/>
                      </a:lnTo>
                      <a:cubicBezTo>
                        <a:pt x="907969" y="71609"/>
                        <a:pt x="920914" y="63204"/>
                        <a:pt x="934948" y="61645"/>
                      </a:cubicBezTo>
                      <a:cubicBezTo>
                        <a:pt x="982722" y="56337"/>
                        <a:pt x="1030841" y="54796"/>
                        <a:pt x="1078787" y="51371"/>
                      </a:cubicBezTo>
                      <a:cubicBezTo>
                        <a:pt x="1109609" y="54796"/>
                        <a:pt x="1140603" y="56929"/>
                        <a:pt x="1171254" y="61645"/>
                      </a:cubicBezTo>
                      <a:cubicBezTo>
                        <a:pt x="1185210" y="63792"/>
                        <a:pt x="1198230" y="71919"/>
                        <a:pt x="1212351" y="71919"/>
                      </a:cubicBezTo>
                      <a:cubicBezTo>
                        <a:pt x="1277511" y="71919"/>
                        <a:pt x="1342490" y="65070"/>
                        <a:pt x="1407560" y="61645"/>
                      </a:cubicBezTo>
                      <a:cubicBezTo>
                        <a:pt x="1486328" y="65070"/>
                        <a:pt x="1565238" y="66095"/>
                        <a:pt x="1643865" y="71919"/>
                      </a:cubicBezTo>
                      <a:cubicBezTo>
                        <a:pt x="1665545" y="73525"/>
                        <a:pt x="1694515" y="86390"/>
                        <a:pt x="1715784" y="92467"/>
                      </a:cubicBezTo>
                      <a:cubicBezTo>
                        <a:pt x="1729361" y="96346"/>
                        <a:pt x="1743182" y="99317"/>
                        <a:pt x="1756881" y="102742"/>
                      </a:cubicBezTo>
                      <a:lnTo>
                        <a:pt x="1921267" y="92467"/>
                      </a:lnTo>
                      <a:cubicBezTo>
                        <a:pt x="1952181" y="89994"/>
                        <a:pt x="1982850" y="85001"/>
                        <a:pt x="2013735" y="82193"/>
                      </a:cubicBezTo>
                      <a:cubicBezTo>
                        <a:pt x="2058204" y="78150"/>
                        <a:pt x="2102800" y="75627"/>
                        <a:pt x="2147299" y="71919"/>
                      </a:cubicBezTo>
                      <a:lnTo>
                        <a:pt x="2260315" y="61645"/>
                      </a:lnTo>
                      <a:cubicBezTo>
                        <a:pt x="2370484" y="39611"/>
                        <a:pt x="2269750" y="57435"/>
                        <a:pt x="2465798" y="41097"/>
                      </a:cubicBezTo>
                      <a:cubicBezTo>
                        <a:pt x="2496703" y="38522"/>
                        <a:pt x="2527443" y="34247"/>
                        <a:pt x="2558265" y="30822"/>
                      </a:cubicBezTo>
                      <a:cubicBezTo>
                        <a:pt x="2646786" y="8692"/>
                        <a:pt x="2572303" y="24876"/>
                        <a:pt x="2732926" y="10274"/>
                      </a:cubicBezTo>
                      <a:cubicBezTo>
                        <a:pt x="2763811" y="7466"/>
                        <a:pt x="2794571" y="3425"/>
                        <a:pt x="2825393" y="0"/>
                      </a:cubicBezTo>
                      <a:lnTo>
                        <a:pt x="3041151" y="10274"/>
                      </a:lnTo>
                      <a:cubicBezTo>
                        <a:pt x="3619391" y="27535"/>
                        <a:pt x="3340556" y="4802"/>
                        <a:pt x="3626778" y="30822"/>
                      </a:cubicBezTo>
                      <a:cubicBezTo>
                        <a:pt x="3643901" y="34247"/>
                        <a:pt x="3660820" y="38931"/>
                        <a:pt x="3678148" y="41097"/>
                      </a:cubicBezTo>
                      <a:cubicBezTo>
                        <a:pt x="3715683" y="45789"/>
                        <a:pt x="3753544" y="47411"/>
                        <a:pt x="3791164" y="51371"/>
                      </a:cubicBezTo>
                      <a:cubicBezTo>
                        <a:pt x="3818623" y="54261"/>
                        <a:pt x="3845959" y="58220"/>
                        <a:pt x="3873357" y="61645"/>
                      </a:cubicBezTo>
                      <a:cubicBezTo>
                        <a:pt x="3937430" y="83002"/>
                        <a:pt x="3902603" y="75969"/>
                        <a:pt x="4017196" y="61645"/>
                      </a:cubicBezTo>
                      <a:cubicBezTo>
                        <a:pt x="4034524" y="59479"/>
                        <a:pt x="4051121" y="52146"/>
                        <a:pt x="4068566" y="51371"/>
                      </a:cubicBezTo>
                      <a:cubicBezTo>
                        <a:pt x="4205463" y="45287"/>
                        <a:pt x="4342544" y="44522"/>
                        <a:pt x="4479533" y="41097"/>
                      </a:cubicBezTo>
                      <a:cubicBezTo>
                        <a:pt x="4537753" y="37672"/>
                        <a:pt x="4596092" y="35874"/>
                        <a:pt x="4654193" y="30822"/>
                      </a:cubicBezTo>
                      <a:cubicBezTo>
                        <a:pt x="4798238" y="18296"/>
                        <a:pt x="4649706" y="20548"/>
                        <a:pt x="4756935" y="20548"/>
                      </a:cubicBezTo>
                    </a:path>
                  </a:pathLst>
                </a:custGeom>
                <a:noFill/>
                <a:ln w="57150">
                  <a:solidFill>
                    <a:srgbClr val="FFFF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>
                    <a:solidFill>
                      <a:srgbClr val="FFFFFF"/>
                    </a:solidFill>
                  </a:endParaRPr>
                </a:p>
              </p:txBody>
            </p:sp>
          </p:grpSp>
          <p:pic>
            <p:nvPicPr>
              <p:cNvPr id="59394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81575" y="3500437"/>
                <a:ext cx="1868835" cy="87853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42" name="Freeform 41"/>
          <p:cNvSpPr/>
          <p:nvPr/>
        </p:nvSpPr>
        <p:spPr>
          <a:xfrm>
            <a:off x="6692204" y="5530554"/>
            <a:ext cx="371789" cy="241161"/>
          </a:xfrm>
          <a:custGeom>
            <a:avLst/>
            <a:gdLst>
              <a:gd name="connsiteX0" fmla="*/ 0 w 371789"/>
              <a:gd name="connsiteY0" fmla="*/ 0 h 241161"/>
              <a:gd name="connsiteX1" fmla="*/ 100483 w 371789"/>
              <a:gd name="connsiteY1" fmla="*/ 50242 h 241161"/>
              <a:gd name="connsiteX2" fmla="*/ 180870 w 371789"/>
              <a:gd name="connsiteY2" fmla="*/ 100484 h 241161"/>
              <a:gd name="connsiteX3" fmla="*/ 281354 w 371789"/>
              <a:gd name="connsiteY3" fmla="*/ 160774 h 241161"/>
              <a:gd name="connsiteX4" fmla="*/ 341644 w 371789"/>
              <a:gd name="connsiteY4" fmla="*/ 200967 h 241161"/>
              <a:gd name="connsiteX5" fmla="*/ 371789 w 371789"/>
              <a:gd name="connsiteY5" fmla="*/ 221064 h 241161"/>
              <a:gd name="connsiteX6" fmla="*/ 371789 w 371789"/>
              <a:gd name="connsiteY6" fmla="*/ 241161 h 241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1789" h="241161">
                <a:moveTo>
                  <a:pt x="0" y="0"/>
                </a:moveTo>
                <a:cubicBezTo>
                  <a:pt x="33494" y="16747"/>
                  <a:pt x="67441" y="32619"/>
                  <a:pt x="100483" y="50242"/>
                </a:cubicBezTo>
                <a:cubicBezTo>
                  <a:pt x="242632" y="126055"/>
                  <a:pt x="84047" y="45156"/>
                  <a:pt x="180870" y="100484"/>
                </a:cubicBezTo>
                <a:cubicBezTo>
                  <a:pt x="289017" y="162283"/>
                  <a:pt x="133865" y="62448"/>
                  <a:pt x="281354" y="160774"/>
                </a:cubicBezTo>
                <a:lnTo>
                  <a:pt x="341644" y="200967"/>
                </a:lnTo>
                <a:cubicBezTo>
                  <a:pt x="351692" y="207666"/>
                  <a:pt x="371789" y="208987"/>
                  <a:pt x="371789" y="221064"/>
                </a:cubicBezTo>
                <a:lnTo>
                  <a:pt x="371789" y="241161"/>
                </a:lnTo>
              </a:path>
            </a:pathLst>
          </a:cu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4823370" y="364733"/>
            <a:ext cx="1607804" cy="2610841"/>
            <a:chOff x="1756882" y="3892924"/>
            <a:chExt cx="1607804" cy="882109"/>
          </a:xfrm>
        </p:grpSpPr>
        <p:sp>
          <p:nvSpPr>
            <p:cNvPr id="44" name="Freeform 43"/>
            <p:cNvSpPr/>
            <p:nvPr/>
          </p:nvSpPr>
          <p:spPr>
            <a:xfrm>
              <a:off x="1756882" y="4729314"/>
              <a:ext cx="1584946" cy="45719"/>
            </a:xfrm>
            <a:custGeom>
              <a:avLst/>
              <a:gdLst>
                <a:gd name="connsiteX0" fmla="*/ 0 w 4756935"/>
                <a:gd name="connsiteY0" fmla="*/ 82193 h 102742"/>
                <a:gd name="connsiteX1" fmla="*/ 893852 w 4756935"/>
                <a:gd name="connsiteY1" fmla="*/ 71919 h 102742"/>
                <a:gd name="connsiteX2" fmla="*/ 934948 w 4756935"/>
                <a:gd name="connsiteY2" fmla="*/ 61645 h 102742"/>
                <a:gd name="connsiteX3" fmla="*/ 1078787 w 4756935"/>
                <a:gd name="connsiteY3" fmla="*/ 51371 h 102742"/>
                <a:gd name="connsiteX4" fmla="*/ 1171254 w 4756935"/>
                <a:gd name="connsiteY4" fmla="*/ 61645 h 102742"/>
                <a:gd name="connsiteX5" fmla="*/ 1212351 w 4756935"/>
                <a:gd name="connsiteY5" fmla="*/ 71919 h 102742"/>
                <a:gd name="connsiteX6" fmla="*/ 1407560 w 4756935"/>
                <a:gd name="connsiteY6" fmla="*/ 61645 h 102742"/>
                <a:gd name="connsiteX7" fmla="*/ 1643865 w 4756935"/>
                <a:gd name="connsiteY7" fmla="*/ 71919 h 102742"/>
                <a:gd name="connsiteX8" fmla="*/ 1715784 w 4756935"/>
                <a:gd name="connsiteY8" fmla="*/ 92467 h 102742"/>
                <a:gd name="connsiteX9" fmla="*/ 1756881 w 4756935"/>
                <a:gd name="connsiteY9" fmla="*/ 102742 h 102742"/>
                <a:gd name="connsiteX10" fmla="*/ 1921267 w 4756935"/>
                <a:gd name="connsiteY10" fmla="*/ 92467 h 102742"/>
                <a:gd name="connsiteX11" fmla="*/ 2013735 w 4756935"/>
                <a:gd name="connsiteY11" fmla="*/ 82193 h 102742"/>
                <a:gd name="connsiteX12" fmla="*/ 2147299 w 4756935"/>
                <a:gd name="connsiteY12" fmla="*/ 71919 h 102742"/>
                <a:gd name="connsiteX13" fmla="*/ 2260315 w 4756935"/>
                <a:gd name="connsiteY13" fmla="*/ 61645 h 102742"/>
                <a:gd name="connsiteX14" fmla="*/ 2465798 w 4756935"/>
                <a:gd name="connsiteY14" fmla="*/ 41097 h 102742"/>
                <a:gd name="connsiteX15" fmla="*/ 2558265 w 4756935"/>
                <a:gd name="connsiteY15" fmla="*/ 30822 h 102742"/>
                <a:gd name="connsiteX16" fmla="*/ 2732926 w 4756935"/>
                <a:gd name="connsiteY16" fmla="*/ 10274 h 102742"/>
                <a:gd name="connsiteX17" fmla="*/ 2825393 w 4756935"/>
                <a:gd name="connsiteY17" fmla="*/ 0 h 102742"/>
                <a:gd name="connsiteX18" fmla="*/ 3041151 w 4756935"/>
                <a:gd name="connsiteY18" fmla="*/ 10274 h 102742"/>
                <a:gd name="connsiteX19" fmla="*/ 3626778 w 4756935"/>
                <a:gd name="connsiteY19" fmla="*/ 30822 h 102742"/>
                <a:gd name="connsiteX20" fmla="*/ 3678148 w 4756935"/>
                <a:gd name="connsiteY20" fmla="*/ 41097 h 102742"/>
                <a:gd name="connsiteX21" fmla="*/ 3791164 w 4756935"/>
                <a:gd name="connsiteY21" fmla="*/ 51371 h 102742"/>
                <a:gd name="connsiteX22" fmla="*/ 3873357 w 4756935"/>
                <a:gd name="connsiteY22" fmla="*/ 61645 h 102742"/>
                <a:gd name="connsiteX23" fmla="*/ 4017196 w 4756935"/>
                <a:gd name="connsiteY23" fmla="*/ 61645 h 102742"/>
                <a:gd name="connsiteX24" fmla="*/ 4068566 w 4756935"/>
                <a:gd name="connsiteY24" fmla="*/ 51371 h 102742"/>
                <a:gd name="connsiteX25" fmla="*/ 4479533 w 4756935"/>
                <a:gd name="connsiteY25" fmla="*/ 41097 h 102742"/>
                <a:gd name="connsiteX26" fmla="*/ 4654193 w 4756935"/>
                <a:gd name="connsiteY26" fmla="*/ 30822 h 102742"/>
                <a:gd name="connsiteX27" fmla="*/ 4756935 w 4756935"/>
                <a:gd name="connsiteY27" fmla="*/ 20548 h 102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756935" h="102742">
                  <a:moveTo>
                    <a:pt x="0" y="82193"/>
                  </a:moveTo>
                  <a:lnTo>
                    <a:pt x="893852" y="71919"/>
                  </a:lnTo>
                  <a:cubicBezTo>
                    <a:pt x="907969" y="71609"/>
                    <a:pt x="920914" y="63204"/>
                    <a:pt x="934948" y="61645"/>
                  </a:cubicBezTo>
                  <a:cubicBezTo>
                    <a:pt x="982722" y="56337"/>
                    <a:pt x="1030841" y="54796"/>
                    <a:pt x="1078787" y="51371"/>
                  </a:cubicBezTo>
                  <a:cubicBezTo>
                    <a:pt x="1109609" y="54796"/>
                    <a:pt x="1140603" y="56929"/>
                    <a:pt x="1171254" y="61645"/>
                  </a:cubicBezTo>
                  <a:cubicBezTo>
                    <a:pt x="1185210" y="63792"/>
                    <a:pt x="1198230" y="71919"/>
                    <a:pt x="1212351" y="71919"/>
                  </a:cubicBezTo>
                  <a:cubicBezTo>
                    <a:pt x="1277511" y="71919"/>
                    <a:pt x="1342490" y="65070"/>
                    <a:pt x="1407560" y="61645"/>
                  </a:cubicBezTo>
                  <a:cubicBezTo>
                    <a:pt x="1486328" y="65070"/>
                    <a:pt x="1565238" y="66095"/>
                    <a:pt x="1643865" y="71919"/>
                  </a:cubicBezTo>
                  <a:cubicBezTo>
                    <a:pt x="1665545" y="73525"/>
                    <a:pt x="1694515" y="86390"/>
                    <a:pt x="1715784" y="92467"/>
                  </a:cubicBezTo>
                  <a:cubicBezTo>
                    <a:pt x="1729361" y="96346"/>
                    <a:pt x="1743182" y="99317"/>
                    <a:pt x="1756881" y="102742"/>
                  </a:cubicBezTo>
                  <a:lnTo>
                    <a:pt x="1921267" y="92467"/>
                  </a:lnTo>
                  <a:cubicBezTo>
                    <a:pt x="1952181" y="89994"/>
                    <a:pt x="1982850" y="85001"/>
                    <a:pt x="2013735" y="82193"/>
                  </a:cubicBezTo>
                  <a:cubicBezTo>
                    <a:pt x="2058204" y="78150"/>
                    <a:pt x="2102800" y="75627"/>
                    <a:pt x="2147299" y="71919"/>
                  </a:cubicBezTo>
                  <a:lnTo>
                    <a:pt x="2260315" y="61645"/>
                  </a:lnTo>
                  <a:cubicBezTo>
                    <a:pt x="2370484" y="39611"/>
                    <a:pt x="2269750" y="57435"/>
                    <a:pt x="2465798" y="41097"/>
                  </a:cubicBezTo>
                  <a:cubicBezTo>
                    <a:pt x="2496703" y="38522"/>
                    <a:pt x="2527443" y="34247"/>
                    <a:pt x="2558265" y="30822"/>
                  </a:cubicBezTo>
                  <a:cubicBezTo>
                    <a:pt x="2646786" y="8692"/>
                    <a:pt x="2572303" y="24876"/>
                    <a:pt x="2732926" y="10274"/>
                  </a:cubicBezTo>
                  <a:cubicBezTo>
                    <a:pt x="2763811" y="7466"/>
                    <a:pt x="2794571" y="3425"/>
                    <a:pt x="2825393" y="0"/>
                  </a:cubicBezTo>
                  <a:lnTo>
                    <a:pt x="3041151" y="10274"/>
                  </a:lnTo>
                  <a:cubicBezTo>
                    <a:pt x="3619391" y="27535"/>
                    <a:pt x="3340556" y="4802"/>
                    <a:pt x="3626778" y="30822"/>
                  </a:cubicBezTo>
                  <a:cubicBezTo>
                    <a:pt x="3643901" y="34247"/>
                    <a:pt x="3660820" y="38931"/>
                    <a:pt x="3678148" y="41097"/>
                  </a:cubicBezTo>
                  <a:cubicBezTo>
                    <a:pt x="3715683" y="45789"/>
                    <a:pt x="3753544" y="47411"/>
                    <a:pt x="3791164" y="51371"/>
                  </a:cubicBezTo>
                  <a:cubicBezTo>
                    <a:pt x="3818623" y="54261"/>
                    <a:pt x="3845959" y="58220"/>
                    <a:pt x="3873357" y="61645"/>
                  </a:cubicBezTo>
                  <a:cubicBezTo>
                    <a:pt x="3937430" y="83002"/>
                    <a:pt x="3902603" y="75969"/>
                    <a:pt x="4017196" y="61645"/>
                  </a:cubicBezTo>
                  <a:cubicBezTo>
                    <a:pt x="4034524" y="59479"/>
                    <a:pt x="4051121" y="52146"/>
                    <a:pt x="4068566" y="51371"/>
                  </a:cubicBezTo>
                  <a:cubicBezTo>
                    <a:pt x="4205463" y="45287"/>
                    <a:pt x="4342544" y="44522"/>
                    <a:pt x="4479533" y="41097"/>
                  </a:cubicBezTo>
                  <a:cubicBezTo>
                    <a:pt x="4537753" y="37672"/>
                    <a:pt x="4596092" y="35874"/>
                    <a:pt x="4654193" y="30822"/>
                  </a:cubicBezTo>
                  <a:cubicBezTo>
                    <a:pt x="4798238" y="18296"/>
                    <a:pt x="4649706" y="20548"/>
                    <a:pt x="4756935" y="20548"/>
                  </a:cubicBezTo>
                </a:path>
              </a:pathLst>
            </a:custGeom>
            <a:noFill/>
            <a:ln w="571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48" name="Freeform 47"/>
            <p:cNvSpPr/>
            <p:nvPr/>
          </p:nvSpPr>
          <p:spPr>
            <a:xfrm>
              <a:off x="3318967" y="3892924"/>
              <a:ext cx="45719" cy="852001"/>
            </a:xfrm>
            <a:custGeom>
              <a:avLst/>
              <a:gdLst>
                <a:gd name="connsiteX0" fmla="*/ 0 w 123290"/>
                <a:gd name="connsiteY0" fmla="*/ 0 h 3133618"/>
                <a:gd name="connsiteX1" fmla="*/ 10274 w 123290"/>
                <a:gd name="connsiteY1" fmla="*/ 246580 h 3133618"/>
                <a:gd name="connsiteX2" fmla="*/ 20548 w 123290"/>
                <a:gd name="connsiteY2" fmla="*/ 297951 h 3133618"/>
                <a:gd name="connsiteX3" fmla="*/ 41096 w 123290"/>
                <a:gd name="connsiteY3" fmla="*/ 575353 h 3133618"/>
                <a:gd name="connsiteX4" fmla="*/ 51370 w 123290"/>
                <a:gd name="connsiteY4" fmla="*/ 647272 h 3133618"/>
                <a:gd name="connsiteX5" fmla="*/ 61645 w 123290"/>
                <a:gd name="connsiteY5" fmla="*/ 678094 h 3133618"/>
                <a:gd name="connsiteX6" fmla="*/ 51370 w 123290"/>
                <a:gd name="connsiteY6" fmla="*/ 770562 h 3133618"/>
                <a:gd name="connsiteX7" fmla="*/ 61645 w 123290"/>
                <a:gd name="connsiteY7" fmla="*/ 1325366 h 3133618"/>
                <a:gd name="connsiteX8" fmla="*/ 71919 w 123290"/>
                <a:gd name="connsiteY8" fmla="*/ 1376737 h 3133618"/>
                <a:gd name="connsiteX9" fmla="*/ 82193 w 123290"/>
                <a:gd name="connsiteY9" fmla="*/ 1479479 h 3133618"/>
                <a:gd name="connsiteX10" fmla="*/ 102741 w 123290"/>
                <a:gd name="connsiteY10" fmla="*/ 1561672 h 3133618"/>
                <a:gd name="connsiteX11" fmla="*/ 123290 w 123290"/>
                <a:gd name="connsiteY11" fmla="*/ 1684962 h 3133618"/>
                <a:gd name="connsiteX12" fmla="*/ 113015 w 123290"/>
                <a:gd name="connsiteY12" fmla="*/ 2024009 h 3133618"/>
                <a:gd name="connsiteX13" fmla="*/ 102741 w 123290"/>
                <a:gd name="connsiteY13" fmla="*/ 2178121 h 3133618"/>
                <a:gd name="connsiteX14" fmla="*/ 92467 w 123290"/>
                <a:gd name="connsiteY14" fmla="*/ 2876764 h 3133618"/>
                <a:gd name="connsiteX15" fmla="*/ 82193 w 123290"/>
                <a:gd name="connsiteY15" fmla="*/ 2907587 h 3133618"/>
                <a:gd name="connsiteX16" fmla="*/ 71919 w 123290"/>
                <a:gd name="connsiteY16" fmla="*/ 2948683 h 3133618"/>
                <a:gd name="connsiteX17" fmla="*/ 61645 w 123290"/>
                <a:gd name="connsiteY17" fmla="*/ 3133618 h 3133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3290" h="3133618">
                  <a:moveTo>
                    <a:pt x="0" y="0"/>
                  </a:moveTo>
                  <a:cubicBezTo>
                    <a:pt x="3425" y="82193"/>
                    <a:pt x="4614" y="164510"/>
                    <a:pt x="10274" y="246580"/>
                  </a:cubicBezTo>
                  <a:cubicBezTo>
                    <a:pt x="11475" y="264001"/>
                    <a:pt x="19347" y="280530"/>
                    <a:pt x="20548" y="297951"/>
                  </a:cubicBezTo>
                  <a:cubicBezTo>
                    <a:pt x="40133" y="581931"/>
                    <a:pt x="3642" y="462988"/>
                    <a:pt x="41096" y="575353"/>
                  </a:cubicBezTo>
                  <a:cubicBezTo>
                    <a:pt x="44521" y="599326"/>
                    <a:pt x="46621" y="623526"/>
                    <a:pt x="51370" y="647272"/>
                  </a:cubicBezTo>
                  <a:cubicBezTo>
                    <a:pt x="53494" y="657892"/>
                    <a:pt x="61645" y="667264"/>
                    <a:pt x="61645" y="678094"/>
                  </a:cubicBezTo>
                  <a:cubicBezTo>
                    <a:pt x="61645" y="709106"/>
                    <a:pt x="54795" y="739739"/>
                    <a:pt x="51370" y="770562"/>
                  </a:cubicBezTo>
                  <a:cubicBezTo>
                    <a:pt x="54795" y="955497"/>
                    <a:pt x="55378" y="1140506"/>
                    <a:pt x="61645" y="1325366"/>
                  </a:cubicBezTo>
                  <a:cubicBezTo>
                    <a:pt x="62237" y="1342819"/>
                    <a:pt x="69611" y="1359427"/>
                    <a:pt x="71919" y="1376737"/>
                  </a:cubicBezTo>
                  <a:cubicBezTo>
                    <a:pt x="76468" y="1410853"/>
                    <a:pt x="77644" y="1445363"/>
                    <a:pt x="82193" y="1479479"/>
                  </a:cubicBezTo>
                  <a:cubicBezTo>
                    <a:pt x="102566" y="1632278"/>
                    <a:pt x="81999" y="1457964"/>
                    <a:pt x="102741" y="1561672"/>
                  </a:cubicBezTo>
                  <a:cubicBezTo>
                    <a:pt x="110912" y="1602526"/>
                    <a:pt x="123290" y="1684962"/>
                    <a:pt x="123290" y="1684962"/>
                  </a:cubicBezTo>
                  <a:cubicBezTo>
                    <a:pt x="119865" y="1797978"/>
                    <a:pt x="117722" y="1911039"/>
                    <a:pt x="113015" y="2024009"/>
                  </a:cubicBezTo>
                  <a:cubicBezTo>
                    <a:pt x="110872" y="2075449"/>
                    <a:pt x="103981" y="2126651"/>
                    <a:pt x="102741" y="2178121"/>
                  </a:cubicBezTo>
                  <a:cubicBezTo>
                    <a:pt x="97131" y="2410960"/>
                    <a:pt x="99025" y="2643950"/>
                    <a:pt x="92467" y="2876764"/>
                  </a:cubicBezTo>
                  <a:cubicBezTo>
                    <a:pt x="92162" y="2887590"/>
                    <a:pt x="85168" y="2897174"/>
                    <a:pt x="82193" y="2907587"/>
                  </a:cubicBezTo>
                  <a:cubicBezTo>
                    <a:pt x="78314" y="2921164"/>
                    <a:pt x="75344" y="2934984"/>
                    <a:pt x="71919" y="2948683"/>
                  </a:cubicBezTo>
                  <a:lnTo>
                    <a:pt x="61645" y="3133618"/>
                  </a:lnTo>
                </a:path>
              </a:pathLst>
            </a:custGeom>
            <a:noFill/>
            <a:ln w="571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FFFFFF"/>
                </a:solidFill>
              </a:endParaRPr>
            </a:p>
          </p:txBody>
        </p:sp>
      </p:grpSp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5869" y="2416072"/>
            <a:ext cx="1868835" cy="878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" name="Picture 6" descr="http://darulfiqh.com/wp-content/uploads/2012/05/pound-coins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5416" y="4060015"/>
            <a:ext cx="441580" cy="520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6" descr="http://darulfiqh.com/wp-content/uploads/2012/05/pound-coins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6355" y="2441891"/>
            <a:ext cx="441580" cy="520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6" descr="http://darulfiqh.com/wp-content/uploads/2012/05/pound-coins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0396" y="2441891"/>
            <a:ext cx="441580" cy="520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Freeform 61"/>
          <p:cNvSpPr/>
          <p:nvPr/>
        </p:nvSpPr>
        <p:spPr>
          <a:xfrm>
            <a:off x="6385455" y="297074"/>
            <a:ext cx="1584946" cy="135318"/>
          </a:xfrm>
          <a:custGeom>
            <a:avLst/>
            <a:gdLst>
              <a:gd name="connsiteX0" fmla="*/ 0 w 4756935"/>
              <a:gd name="connsiteY0" fmla="*/ 82193 h 102742"/>
              <a:gd name="connsiteX1" fmla="*/ 893852 w 4756935"/>
              <a:gd name="connsiteY1" fmla="*/ 71919 h 102742"/>
              <a:gd name="connsiteX2" fmla="*/ 934948 w 4756935"/>
              <a:gd name="connsiteY2" fmla="*/ 61645 h 102742"/>
              <a:gd name="connsiteX3" fmla="*/ 1078787 w 4756935"/>
              <a:gd name="connsiteY3" fmla="*/ 51371 h 102742"/>
              <a:gd name="connsiteX4" fmla="*/ 1171254 w 4756935"/>
              <a:gd name="connsiteY4" fmla="*/ 61645 h 102742"/>
              <a:gd name="connsiteX5" fmla="*/ 1212351 w 4756935"/>
              <a:gd name="connsiteY5" fmla="*/ 71919 h 102742"/>
              <a:gd name="connsiteX6" fmla="*/ 1407560 w 4756935"/>
              <a:gd name="connsiteY6" fmla="*/ 61645 h 102742"/>
              <a:gd name="connsiteX7" fmla="*/ 1643865 w 4756935"/>
              <a:gd name="connsiteY7" fmla="*/ 71919 h 102742"/>
              <a:gd name="connsiteX8" fmla="*/ 1715784 w 4756935"/>
              <a:gd name="connsiteY8" fmla="*/ 92467 h 102742"/>
              <a:gd name="connsiteX9" fmla="*/ 1756881 w 4756935"/>
              <a:gd name="connsiteY9" fmla="*/ 102742 h 102742"/>
              <a:gd name="connsiteX10" fmla="*/ 1921267 w 4756935"/>
              <a:gd name="connsiteY10" fmla="*/ 92467 h 102742"/>
              <a:gd name="connsiteX11" fmla="*/ 2013735 w 4756935"/>
              <a:gd name="connsiteY11" fmla="*/ 82193 h 102742"/>
              <a:gd name="connsiteX12" fmla="*/ 2147299 w 4756935"/>
              <a:gd name="connsiteY12" fmla="*/ 71919 h 102742"/>
              <a:gd name="connsiteX13" fmla="*/ 2260315 w 4756935"/>
              <a:gd name="connsiteY13" fmla="*/ 61645 h 102742"/>
              <a:gd name="connsiteX14" fmla="*/ 2465798 w 4756935"/>
              <a:gd name="connsiteY14" fmla="*/ 41097 h 102742"/>
              <a:gd name="connsiteX15" fmla="*/ 2558265 w 4756935"/>
              <a:gd name="connsiteY15" fmla="*/ 30822 h 102742"/>
              <a:gd name="connsiteX16" fmla="*/ 2732926 w 4756935"/>
              <a:gd name="connsiteY16" fmla="*/ 10274 h 102742"/>
              <a:gd name="connsiteX17" fmla="*/ 2825393 w 4756935"/>
              <a:gd name="connsiteY17" fmla="*/ 0 h 102742"/>
              <a:gd name="connsiteX18" fmla="*/ 3041151 w 4756935"/>
              <a:gd name="connsiteY18" fmla="*/ 10274 h 102742"/>
              <a:gd name="connsiteX19" fmla="*/ 3626778 w 4756935"/>
              <a:gd name="connsiteY19" fmla="*/ 30822 h 102742"/>
              <a:gd name="connsiteX20" fmla="*/ 3678148 w 4756935"/>
              <a:gd name="connsiteY20" fmla="*/ 41097 h 102742"/>
              <a:gd name="connsiteX21" fmla="*/ 3791164 w 4756935"/>
              <a:gd name="connsiteY21" fmla="*/ 51371 h 102742"/>
              <a:gd name="connsiteX22" fmla="*/ 3873357 w 4756935"/>
              <a:gd name="connsiteY22" fmla="*/ 61645 h 102742"/>
              <a:gd name="connsiteX23" fmla="*/ 4017196 w 4756935"/>
              <a:gd name="connsiteY23" fmla="*/ 61645 h 102742"/>
              <a:gd name="connsiteX24" fmla="*/ 4068566 w 4756935"/>
              <a:gd name="connsiteY24" fmla="*/ 51371 h 102742"/>
              <a:gd name="connsiteX25" fmla="*/ 4479533 w 4756935"/>
              <a:gd name="connsiteY25" fmla="*/ 41097 h 102742"/>
              <a:gd name="connsiteX26" fmla="*/ 4654193 w 4756935"/>
              <a:gd name="connsiteY26" fmla="*/ 30822 h 102742"/>
              <a:gd name="connsiteX27" fmla="*/ 4756935 w 4756935"/>
              <a:gd name="connsiteY27" fmla="*/ 20548 h 102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756935" h="102742">
                <a:moveTo>
                  <a:pt x="0" y="82193"/>
                </a:moveTo>
                <a:lnTo>
                  <a:pt x="893852" y="71919"/>
                </a:lnTo>
                <a:cubicBezTo>
                  <a:pt x="907969" y="71609"/>
                  <a:pt x="920914" y="63204"/>
                  <a:pt x="934948" y="61645"/>
                </a:cubicBezTo>
                <a:cubicBezTo>
                  <a:pt x="982722" y="56337"/>
                  <a:pt x="1030841" y="54796"/>
                  <a:pt x="1078787" y="51371"/>
                </a:cubicBezTo>
                <a:cubicBezTo>
                  <a:pt x="1109609" y="54796"/>
                  <a:pt x="1140603" y="56929"/>
                  <a:pt x="1171254" y="61645"/>
                </a:cubicBezTo>
                <a:cubicBezTo>
                  <a:pt x="1185210" y="63792"/>
                  <a:pt x="1198230" y="71919"/>
                  <a:pt x="1212351" y="71919"/>
                </a:cubicBezTo>
                <a:cubicBezTo>
                  <a:pt x="1277511" y="71919"/>
                  <a:pt x="1342490" y="65070"/>
                  <a:pt x="1407560" y="61645"/>
                </a:cubicBezTo>
                <a:cubicBezTo>
                  <a:pt x="1486328" y="65070"/>
                  <a:pt x="1565238" y="66095"/>
                  <a:pt x="1643865" y="71919"/>
                </a:cubicBezTo>
                <a:cubicBezTo>
                  <a:pt x="1665545" y="73525"/>
                  <a:pt x="1694515" y="86390"/>
                  <a:pt x="1715784" y="92467"/>
                </a:cubicBezTo>
                <a:cubicBezTo>
                  <a:pt x="1729361" y="96346"/>
                  <a:pt x="1743182" y="99317"/>
                  <a:pt x="1756881" y="102742"/>
                </a:cubicBezTo>
                <a:lnTo>
                  <a:pt x="1921267" y="92467"/>
                </a:lnTo>
                <a:cubicBezTo>
                  <a:pt x="1952181" y="89994"/>
                  <a:pt x="1982850" y="85001"/>
                  <a:pt x="2013735" y="82193"/>
                </a:cubicBezTo>
                <a:cubicBezTo>
                  <a:pt x="2058204" y="78150"/>
                  <a:pt x="2102800" y="75627"/>
                  <a:pt x="2147299" y="71919"/>
                </a:cubicBezTo>
                <a:lnTo>
                  <a:pt x="2260315" y="61645"/>
                </a:lnTo>
                <a:cubicBezTo>
                  <a:pt x="2370484" y="39611"/>
                  <a:pt x="2269750" y="57435"/>
                  <a:pt x="2465798" y="41097"/>
                </a:cubicBezTo>
                <a:cubicBezTo>
                  <a:pt x="2496703" y="38522"/>
                  <a:pt x="2527443" y="34247"/>
                  <a:pt x="2558265" y="30822"/>
                </a:cubicBezTo>
                <a:cubicBezTo>
                  <a:pt x="2646786" y="8692"/>
                  <a:pt x="2572303" y="24876"/>
                  <a:pt x="2732926" y="10274"/>
                </a:cubicBezTo>
                <a:cubicBezTo>
                  <a:pt x="2763811" y="7466"/>
                  <a:pt x="2794571" y="3425"/>
                  <a:pt x="2825393" y="0"/>
                </a:cubicBezTo>
                <a:lnTo>
                  <a:pt x="3041151" y="10274"/>
                </a:lnTo>
                <a:cubicBezTo>
                  <a:pt x="3619391" y="27535"/>
                  <a:pt x="3340556" y="4802"/>
                  <a:pt x="3626778" y="30822"/>
                </a:cubicBezTo>
                <a:cubicBezTo>
                  <a:pt x="3643901" y="34247"/>
                  <a:pt x="3660820" y="38931"/>
                  <a:pt x="3678148" y="41097"/>
                </a:cubicBezTo>
                <a:cubicBezTo>
                  <a:pt x="3715683" y="45789"/>
                  <a:pt x="3753544" y="47411"/>
                  <a:pt x="3791164" y="51371"/>
                </a:cubicBezTo>
                <a:cubicBezTo>
                  <a:pt x="3818623" y="54261"/>
                  <a:pt x="3845959" y="58220"/>
                  <a:pt x="3873357" y="61645"/>
                </a:cubicBezTo>
                <a:cubicBezTo>
                  <a:pt x="3937430" y="83002"/>
                  <a:pt x="3902603" y="75969"/>
                  <a:pt x="4017196" y="61645"/>
                </a:cubicBezTo>
                <a:cubicBezTo>
                  <a:pt x="4034524" y="59479"/>
                  <a:pt x="4051121" y="52146"/>
                  <a:pt x="4068566" y="51371"/>
                </a:cubicBezTo>
                <a:cubicBezTo>
                  <a:pt x="4205463" y="45287"/>
                  <a:pt x="4342544" y="44522"/>
                  <a:pt x="4479533" y="41097"/>
                </a:cubicBezTo>
                <a:cubicBezTo>
                  <a:pt x="4537753" y="37672"/>
                  <a:pt x="4596092" y="35874"/>
                  <a:pt x="4654193" y="30822"/>
                </a:cubicBezTo>
                <a:cubicBezTo>
                  <a:pt x="4798238" y="18296"/>
                  <a:pt x="4649706" y="20548"/>
                  <a:pt x="4756935" y="20548"/>
                </a:cubicBezTo>
              </a:path>
            </a:pathLst>
          </a:custGeom>
          <a:noFill/>
          <a:ln w="571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pic>
        <p:nvPicPr>
          <p:cNvPr id="63" name="Picture 6" descr="http://darulfiqh.com/wp-content/uploads/2012/05/pound-coins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4512" y="4079941"/>
            <a:ext cx="441580" cy="520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" descr="http://darulfiqh.com/wp-content/uploads/2012/05/pound-coins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1927" y="1915386"/>
            <a:ext cx="441580" cy="520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6" descr="http://darulfiqh.com/wp-content/uploads/2012/05/pound-coins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670" y="1915386"/>
            <a:ext cx="441580" cy="520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6" descr="http://darulfiqh.com/wp-content/uploads/2012/05/pound-coins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6197" y="1945531"/>
            <a:ext cx="441580" cy="520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262" y="4879832"/>
            <a:ext cx="1656000" cy="760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8" name="Picture 6" descr="http://darulfiqh.com/wp-content/uploads/2012/05/pound-coins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3254" y="1251264"/>
            <a:ext cx="441580" cy="520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6" descr="http://darulfiqh.com/wp-content/uploads/2012/05/pound-coins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9997" y="1251264"/>
            <a:ext cx="441580" cy="520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6" descr="http://darulfiqh.com/wp-content/uploads/2012/05/pound-coins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7524" y="1281409"/>
            <a:ext cx="441580" cy="520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6" descr="http://darulfiqh.com/wp-content/uploads/2012/05/pound-coins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3459" y="2436410"/>
            <a:ext cx="441580" cy="520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6" descr="http://darulfiqh.com/wp-content/uploads/2012/05/pound-coins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1733" y="1909905"/>
            <a:ext cx="441580" cy="520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6" descr="http://darulfiqh.com/wp-content/uploads/2012/05/pound-coins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3060" y="1245783"/>
            <a:ext cx="441580" cy="520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6" descr="http://darulfiqh.com/wp-content/uploads/2012/05/pound-coins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2129" y="4079941"/>
            <a:ext cx="441580" cy="520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7" name="Group 76"/>
          <p:cNvGrpSpPr/>
          <p:nvPr/>
        </p:nvGrpSpPr>
        <p:grpSpPr>
          <a:xfrm>
            <a:off x="2079133" y="2936643"/>
            <a:ext cx="2356735" cy="1697007"/>
            <a:chOff x="3498073" y="1874122"/>
            <a:chExt cx="2356735" cy="1697007"/>
          </a:xfrm>
        </p:grpSpPr>
        <p:grpSp>
          <p:nvGrpSpPr>
            <p:cNvPr id="78" name="Group 77"/>
            <p:cNvGrpSpPr/>
            <p:nvPr/>
          </p:nvGrpSpPr>
          <p:grpSpPr>
            <a:xfrm rot="20700000">
              <a:off x="3863939" y="2415601"/>
              <a:ext cx="1220157" cy="1155528"/>
              <a:chOff x="6165675" y="903323"/>
              <a:chExt cx="1220157" cy="1155528"/>
            </a:xfrm>
          </p:grpSpPr>
          <p:grpSp>
            <p:nvGrpSpPr>
              <p:cNvPr id="80" name="Group 79"/>
              <p:cNvGrpSpPr/>
              <p:nvPr/>
            </p:nvGrpSpPr>
            <p:grpSpPr>
              <a:xfrm>
                <a:off x="6344331" y="903323"/>
                <a:ext cx="1041501" cy="262163"/>
                <a:chOff x="3139709" y="1254265"/>
                <a:chExt cx="3536220" cy="890124"/>
              </a:xfrm>
            </p:grpSpPr>
            <p:sp>
              <p:nvSpPr>
                <p:cNvPr id="85" name="Freeform 84"/>
                <p:cNvSpPr/>
                <p:nvPr/>
              </p:nvSpPr>
              <p:spPr>
                <a:xfrm>
                  <a:off x="3139709" y="1254265"/>
                  <a:ext cx="3452837" cy="857756"/>
                </a:xfrm>
                <a:custGeom>
                  <a:avLst/>
                  <a:gdLst>
                    <a:gd name="connsiteX0" fmla="*/ 0 w 3188262"/>
                    <a:gd name="connsiteY0" fmla="*/ 801112 h 857756"/>
                    <a:gd name="connsiteX1" fmla="*/ 32368 w 3188262"/>
                    <a:gd name="connsiteY1" fmla="*/ 760652 h 857756"/>
                    <a:gd name="connsiteX2" fmla="*/ 56644 w 3188262"/>
                    <a:gd name="connsiteY2" fmla="*/ 744468 h 857756"/>
                    <a:gd name="connsiteX3" fmla="*/ 89012 w 3188262"/>
                    <a:gd name="connsiteY3" fmla="*/ 712100 h 857756"/>
                    <a:gd name="connsiteX4" fmla="*/ 105196 w 3188262"/>
                    <a:gd name="connsiteY4" fmla="*/ 687823 h 857756"/>
                    <a:gd name="connsiteX5" fmla="*/ 153748 w 3188262"/>
                    <a:gd name="connsiteY5" fmla="*/ 647363 h 857756"/>
                    <a:gd name="connsiteX6" fmla="*/ 169932 w 3188262"/>
                    <a:gd name="connsiteY6" fmla="*/ 623087 h 857756"/>
                    <a:gd name="connsiteX7" fmla="*/ 218485 w 3188262"/>
                    <a:gd name="connsiteY7" fmla="*/ 590719 h 857756"/>
                    <a:gd name="connsiteX8" fmla="*/ 242761 w 3188262"/>
                    <a:gd name="connsiteY8" fmla="*/ 574535 h 857756"/>
                    <a:gd name="connsiteX9" fmla="*/ 258945 w 3188262"/>
                    <a:gd name="connsiteY9" fmla="*/ 550259 h 857756"/>
                    <a:gd name="connsiteX10" fmla="*/ 307497 w 3188262"/>
                    <a:gd name="connsiteY10" fmla="*/ 525983 h 857756"/>
                    <a:gd name="connsiteX11" fmla="*/ 364141 w 3188262"/>
                    <a:gd name="connsiteY11" fmla="*/ 477431 h 857756"/>
                    <a:gd name="connsiteX12" fmla="*/ 412694 w 3188262"/>
                    <a:gd name="connsiteY12" fmla="*/ 445062 h 857756"/>
                    <a:gd name="connsiteX13" fmla="*/ 428878 w 3188262"/>
                    <a:gd name="connsiteY13" fmla="*/ 420786 h 857756"/>
                    <a:gd name="connsiteX14" fmla="*/ 477430 w 3188262"/>
                    <a:gd name="connsiteY14" fmla="*/ 396510 h 857756"/>
                    <a:gd name="connsiteX15" fmla="*/ 574534 w 3188262"/>
                    <a:gd name="connsiteY15" fmla="*/ 315590 h 857756"/>
                    <a:gd name="connsiteX16" fmla="*/ 598810 w 3188262"/>
                    <a:gd name="connsiteY16" fmla="*/ 299406 h 857756"/>
                    <a:gd name="connsiteX17" fmla="*/ 639271 w 3188262"/>
                    <a:gd name="connsiteY17" fmla="*/ 267038 h 857756"/>
                    <a:gd name="connsiteX18" fmla="*/ 704007 w 3188262"/>
                    <a:gd name="connsiteY18" fmla="*/ 250854 h 857756"/>
                    <a:gd name="connsiteX19" fmla="*/ 728283 w 3188262"/>
                    <a:gd name="connsiteY19" fmla="*/ 234670 h 857756"/>
                    <a:gd name="connsiteX20" fmla="*/ 752559 w 3188262"/>
                    <a:gd name="connsiteY20" fmla="*/ 226577 h 857756"/>
                    <a:gd name="connsiteX21" fmla="*/ 784927 w 3188262"/>
                    <a:gd name="connsiteY21" fmla="*/ 218485 h 857756"/>
                    <a:gd name="connsiteX22" fmla="*/ 865848 w 3188262"/>
                    <a:gd name="connsiteY22" fmla="*/ 202301 h 857756"/>
                    <a:gd name="connsiteX23" fmla="*/ 914400 w 3188262"/>
                    <a:gd name="connsiteY23" fmla="*/ 186117 h 857756"/>
                    <a:gd name="connsiteX24" fmla="*/ 971044 w 3188262"/>
                    <a:gd name="connsiteY24" fmla="*/ 161841 h 857756"/>
                    <a:gd name="connsiteX25" fmla="*/ 1003412 w 3188262"/>
                    <a:gd name="connsiteY25" fmla="*/ 145657 h 857756"/>
                    <a:gd name="connsiteX26" fmla="*/ 1060056 w 3188262"/>
                    <a:gd name="connsiteY26" fmla="*/ 129473 h 857756"/>
                    <a:gd name="connsiteX27" fmla="*/ 1132885 w 3188262"/>
                    <a:gd name="connsiteY27" fmla="*/ 105197 h 857756"/>
                    <a:gd name="connsiteX28" fmla="*/ 1181437 w 3188262"/>
                    <a:gd name="connsiteY28" fmla="*/ 89013 h 857756"/>
                    <a:gd name="connsiteX29" fmla="*/ 1205713 w 3188262"/>
                    <a:gd name="connsiteY29" fmla="*/ 80921 h 857756"/>
                    <a:gd name="connsiteX30" fmla="*/ 1238081 w 3188262"/>
                    <a:gd name="connsiteY30" fmla="*/ 72829 h 857756"/>
                    <a:gd name="connsiteX31" fmla="*/ 1351370 w 3188262"/>
                    <a:gd name="connsiteY31" fmla="*/ 56645 h 857756"/>
                    <a:gd name="connsiteX32" fmla="*/ 1383738 w 3188262"/>
                    <a:gd name="connsiteY32" fmla="*/ 40461 h 857756"/>
                    <a:gd name="connsiteX33" fmla="*/ 1408014 w 3188262"/>
                    <a:gd name="connsiteY33" fmla="*/ 24277 h 857756"/>
                    <a:gd name="connsiteX34" fmla="*/ 1488934 w 3188262"/>
                    <a:gd name="connsiteY34" fmla="*/ 16185 h 857756"/>
                    <a:gd name="connsiteX35" fmla="*/ 1545578 w 3188262"/>
                    <a:gd name="connsiteY35" fmla="*/ 0 h 857756"/>
                    <a:gd name="connsiteX36" fmla="*/ 1723603 w 3188262"/>
                    <a:gd name="connsiteY36" fmla="*/ 8093 h 857756"/>
                    <a:gd name="connsiteX37" fmla="*/ 1764063 w 3188262"/>
                    <a:gd name="connsiteY37" fmla="*/ 16185 h 857756"/>
                    <a:gd name="connsiteX38" fmla="*/ 1828800 w 3188262"/>
                    <a:gd name="connsiteY38" fmla="*/ 32369 h 857756"/>
                    <a:gd name="connsiteX39" fmla="*/ 1901628 w 3188262"/>
                    <a:gd name="connsiteY39" fmla="*/ 48553 h 857756"/>
                    <a:gd name="connsiteX40" fmla="*/ 1942088 w 3188262"/>
                    <a:gd name="connsiteY40" fmla="*/ 56645 h 857756"/>
                    <a:gd name="connsiteX41" fmla="*/ 2103929 w 3188262"/>
                    <a:gd name="connsiteY41" fmla="*/ 80921 h 857756"/>
                    <a:gd name="connsiteX42" fmla="*/ 2128205 w 3188262"/>
                    <a:gd name="connsiteY42" fmla="*/ 89013 h 857756"/>
                    <a:gd name="connsiteX43" fmla="*/ 2192941 w 3188262"/>
                    <a:gd name="connsiteY43" fmla="*/ 105197 h 857756"/>
                    <a:gd name="connsiteX44" fmla="*/ 2225309 w 3188262"/>
                    <a:gd name="connsiteY44" fmla="*/ 113289 h 857756"/>
                    <a:gd name="connsiteX45" fmla="*/ 2249586 w 3188262"/>
                    <a:gd name="connsiteY45" fmla="*/ 121381 h 857756"/>
                    <a:gd name="connsiteX46" fmla="*/ 2314322 w 3188262"/>
                    <a:gd name="connsiteY46" fmla="*/ 137565 h 857756"/>
                    <a:gd name="connsiteX47" fmla="*/ 2338598 w 3188262"/>
                    <a:gd name="connsiteY47" fmla="*/ 145657 h 857756"/>
                    <a:gd name="connsiteX48" fmla="*/ 2362874 w 3188262"/>
                    <a:gd name="connsiteY48" fmla="*/ 161841 h 857756"/>
                    <a:gd name="connsiteX49" fmla="*/ 2419518 w 3188262"/>
                    <a:gd name="connsiteY49" fmla="*/ 178025 h 857756"/>
                    <a:gd name="connsiteX50" fmla="*/ 2500439 w 3188262"/>
                    <a:gd name="connsiteY50" fmla="*/ 210393 h 857756"/>
                    <a:gd name="connsiteX51" fmla="*/ 2524715 w 3188262"/>
                    <a:gd name="connsiteY51" fmla="*/ 226577 h 857756"/>
                    <a:gd name="connsiteX52" fmla="*/ 2557083 w 3188262"/>
                    <a:gd name="connsiteY52" fmla="*/ 234670 h 857756"/>
                    <a:gd name="connsiteX53" fmla="*/ 2605635 w 3188262"/>
                    <a:gd name="connsiteY53" fmla="*/ 250854 h 857756"/>
                    <a:gd name="connsiteX54" fmla="*/ 2629911 w 3188262"/>
                    <a:gd name="connsiteY54" fmla="*/ 258946 h 857756"/>
                    <a:gd name="connsiteX55" fmla="*/ 2678463 w 3188262"/>
                    <a:gd name="connsiteY55" fmla="*/ 267038 h 857756"/>
                    <a:gd name="connsiteX56" fmla="*/ 2727016 w 3188262"/>
                    <a:gd name="connsiteY56" fmla="*/ 299406 h 857756"/>
                    <a:gd name="connsiteX57" fmla="*/ 2751292 w 3188262"/>
                    <a:gd name="connsiteY57" fmla="*/ 315590 h 857756"/>
                    <a:gd name="connsiteX58" fmla="*/ 2775568 w 3188262"/>
                    <a:gd name="connsiteY58" fmla="*/ 323682 h 857756"/>
                    <a:gd name="connsiteX59" fmla="*/ 2799844 w 3188262"/>
                    <a:gd name="connsiteY59" fmla="*/ 347958 h 857756"/>
                    <a:gd name="connsiteX60" fmla="*/ 2856488 w 3188262"/>
                    <a:gd name="connsiteY60" fmla="*/ 372234 h 857756"/>
                    <a:gd name="connsiteX61" fmla="*/ 2872672 w 3188262"/>
                    <a:gd name="connsiteY61" fmla="*/ 396510 h 857756"/>
                    <a:gd name="connsiteX62" fmla="*/ 2905040 w 3188262"/>
                    <a:gd name="connsiteY62" fmla="*/ 404602 h 857756"/>
                    <a:gd name="connsiteX63" fmla="*/ 2937409 w 3188262"/>
                    <a:gd name="connsiteY63" fmla="*/ 453154 h 857756"/>
                    <a:gd name="connsiteX64" fmla="*/ 2977869 w 3188262"/>
                    <a:gd name="connsiteY64" fmla="*/ 501707 h 857756"/>
                    <a:gd name="connsiteX65" fmla="*/ 3002145 w 3188262"/>
                    <a:gd name="connsiteY65" fmla="*/ 525983 h 857756"/>
                    <a:gd name="connsiteX66" fmla="*/ 3018329 w 3188262"/>
                    <a:gd name="connsiteY66" fmla="*/ 550259 h 857756"/>
                    <a:gd name="connsiteX67" fmla="*/ 3034513 w 3188262"/>
                    <a:gd name="connsiteY67" fmla="*/ 598811 h 857756"/>
                    <a:gd name="connsiteX68" fmla="*/ 3058789 w 3188262"/>
                    <a:gd name="connsiteY68" fmla="*/ 623087 h 857756"/>
                    <a:gd name="connsiteX69" fmla="*/ 3083065 w 3188262"/>
                    <a:gd name="connsiteY69" fmla="*/ 679731 h 857756"/>
                    <a:gd name="connsiteX70" fmla="*/ 3099249 w 3188262"/>
                    <a:gd name="connsiteY70" fmla="*/ 728284 h 857756"/>
                    <a:gd name="connsiteX71" fmla="*/ 3139709 w 3188262"/>
                    <a:gd name="connsiteY71" fmla="*/ 784928 h 857756"/>
                    <a:gd name="connsiteX72" fmla="*/ 3155894 w 3188262"/>
                    <a:gd name="connsiteY72" fmla="*/ 801112 h 857756"/>
                    <a:gd name="connsiteX73" fmla="*/ 3172078 w 3188262"/>
                    <a:gd name="connsiteY73" fmla="*/ 825388 h 857756"/>
                    <a:gd name="connsiteX74" fmla="*/ 3188262 w 3188262"/>
                    <a:gd name="connsiteY74" fmla="*/ 857756 h 857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</a:cxnLst>
                  <a:rect l="l" t="t" r="r" b="b"/>
                  <a:pathLst>
                    <a:path w="3188262" h="857756">
                      <a:moveTo>
                        <a:pt x="0" y="801112"/>
                      </a:moveTo>
                      <a:cubicBezTo>
                        <a:pt x="10789" y="787625"/>
                        <a:pt x="20155" y="772865"/>
                        <a:pt x="32368" y="760652"/>
                      </a:cubicBezTo>
                      <a:cubicBezTo>
                        <a:pt x="39245" y="753775"/>
                        <a:pt x="50569" y="752062"/>
                        <a:pt x="56644" y="744468"/>
                      </a:cubicBezTo>
                      <a:cubicBezTo>
                        <a:pt x="88031" y="705234"/>
                        <a:pt x="36046" y="729755"/>
                        <a:pt x="89012" y="712100"/>
                      </a:cubicBezTo>
                      <a:cubicBezTo>
                        <a:pt x="94407" y="704008"/>
                        <a:pt x="98319" y="694700"/>
                        <a:pt x="105196" y="687823"/>
                      </a:cubicBezTo>
                      <a:cubicBezTo>
                        <a:pt x="168857" y="624161"/>
                        <a:pt x="87456" y="726914"/>
                        <a:pt x="153748" y="647363"/>
                      </a:cubicBezTo>
                      <a:cubicBezTo>
                        <a:pt x="159974" y="639892"/>
                        <a:pt x="162613" y="629491"/>
                        <a:pt x="169932" y="623087"/>
                      </a:cubicBezTo>
                      <a:cubicBezTo>
                        <a:pt x="184570" y="610279"/>
                        <a:pt x="202301" y="601508"/>
                        <a:pt x="218485" y="590719"/>
                      </a:cubicBezTo>
                      <a:lnTo>
                        <a:pt x="242761" y="574535"/>
                      </a:lnTo>
                      <a:cubicBezTo>
                        <a:pt x="248156" y="566443"/>
                        <a:pt x="251351" y="556334"/>
                        <a:pt x="258945" y="550259"/>
                      </a:cubicBezTo>
                      <a:cubicBezTo>
                        <a:pt x="324759" y="497608"/>
                        <a:pt x="239283" y="594197"/>
                        <a:pt x="307497" y="525983"/>
                      </a:cubicBezTo>
                      <a:cubicBezTo>
                        <a:pt x="377692" y="455788"/>
                        <a:pt x="285113" y="524848"/>
                        <a:pt x="364141" y="477431"/>
                      </a:cubicBezTo>
                      <a:cubicBezTo>
                        <a:pt x="380820" y="467423"/>
                        <a:pt x="412694" y="445062"/>
                        <a:pt x="412694" y="445062"/>
                      </a:cubicBezTo>
                      <a:cubicBezTo>
                        <a:pt x="418089" y="436970"/>
                        <a:pt x="422001" y="427663"/>
                        <a:pt x="428878" y="420786"/>
                      </a:cubicBezTo>
                      <a:cubicBezTo>
                        <a:pt x="444565" y="405099"/>
                        <a:pt x="457686" y="403091"/>
                        <a:pt x="477430" y="396510"/>
                      </a:cubicBezTo>
                      <a:cubicBezTo>
                        <a:pt x="539736" y="334204"/>
                        <a:pt x="506938" y="360654"/>
                        <a:pt x="574534" y="315590"/>
                      </a:cubicBezTo>
                      <a:lnTo>
                        <a:pt x="598810" y="299406"/>
                      </a:lnTo>
                      <a:cubicBezTo>
                        <a:pt x="617840" y="270862"/>
                        <a:pt x="607422" y="275724"/>
                        <a:pt x="639271" y="267038"/>
                      </a:cubicBezTo>
                      <a:cubicBezTo>
                        <a:pt x="660730" y="261186"/>
                        <a:pt x="704007" y="250854"/>
                        <a:pt x="704007" y="250854"/>
                      </a:cubicBezTo>
                      <a:cubicBezTo>
                        <a:pt x="712099" y="245459"/>
                        <a:pt x="719584" y="239019"/>
                        <a:pt x="728283" y="234670"/>
                      </a:cubicBezTo>
                      <a:cubicBezTo>
                        <a:pt x="735912" y="230855"/>
                        <a:pt x="744357" y="228920"/>
                        <a:pt x="752559" y="226577"/>
                      </a:cubicBezTo>
                      <a:cubicBezTo>
                        <a:pt x="763252" y="223522"/>
                        <a:pt x="774052" y="220815"/>
                        <a:pt x="784927" y="218485"/>
                      </a:cubicBezTo>
                      <a:cubicBezTo>
                        <a:pt x="811824" y="212721"/>
                        <a:pt x="839752" y="211000"/>
                        <a:pt x="865848" y="202301"/>
                      </a:cubicBezTo>
                      <a:cubicBezTo>
                        <a:pt x="882032" y="196906"/>
                        <a:pt x="899142" y="193746"/>
                        <a:pt x="914400" y="186117"/>
                      </a:cubicBezTo>
                      <a:cubicBezTo>
                        <a:pt x="1021751" y="132441"/>
                        <a:pt x="887698" y="197561"/>
                        <a:pt x="971044" y="161841"/>
                      </a:cubicBezTo>
                      <a:cubicBezTo>
                        <a:pt x="982132" y="157089"/>
                        <a:pt x="992324" y="150409"/>
                        <a:pt x="1003412" y="145657"/>
                      </a:cubicBezTo>
                      <a:cubicBezTo>
                        <a:pt x="1019664" y="138692"/>
                        <a:pt x="1043631" y="133579"/>
                        <a:pt x="1060056" y="129473"/>
                      </a:cubicBezTo>
                      <a:cubicBezTo>
                        <a:pt x="1104877" y="99592"/>
                        <a:pt x="1063110" y="122641"/>
                        <a:pt x="1132885" y="105197"/>
                      </a:cubicBezTo>
                      <a:cubicBezTo>
                        <a:pt x="1149435" y="101060"/>
                        <a:pt x="1165253" y="94408"/>
                        <a:pt x="1181437" y="89013"/>
                      </a:cubicBezTo>
                      <a:cubicBezTo>
                        <a:pt x="1189529" y="86316"/>
                        <a:pt x="1197438" y="82990"/>
                        <a:pt x="1205713" y="80921"/>
                      </a:cubicBezTo>
                      <a:cubicBezTo>
                        <a:pt x="1216502" y="78224"/>
                        <a:pt x="1227089" y="74520"/>
                        <a:pt x="1238081" y="72829"/>
                      </a:cubicBezTo>
                      <a:cubicBezTo>
                        <a:pt x="1404678" y="47199"/>
                        <a:pt x="1241854" y="78548"/>
                        <a:pt x="1351370" y="56645"/>
                      </a:cubicBezTo>
                      <a:cubicBezTo>
                        <a:pt x="1362159" y="51250"/>
                        <a:pt x="1373265" y="46446"/>
                        <a:pt x="1383738" y="40461"/>
                      </a:cubicBezTo>
                      <a:cubicBezTo>
                        <a:pt x="1392182" y="35636"/>
                        <a:pt x="1398538" y="26464"/>
                        <a:pt x="1408014" y="24277"/>
                      </a:cubicBezTo>
                      <a:cubicBezTo>
                        <a:pt x="1434428" y="18182"/>
                        <a:pt x="1461961" y="18882"/>
                        <a:pt x="1488934" y="16185"/>
                      </a:cubicBezTo>
                      <a:cubicBezTo>
                        <a:pt x="1500379" y="12370"/>
                        <a:pt x="1535421" y="0"/>
                        <a:pt x="1545578" y="0"/>
                      </a:cubicBezTo>
                      <a:cubicBezTo>
                        <a:pt x="1604981" y="0"/>
                        <a:pt x="1664261" y="5395"/>
                        <a:pt x="1723603" y="8093"/>
                      </a:cubicBezTo>
                      <a:cubicBezTo>
                        <a:pt x="1737090" y="10790"/>
                        <a:pt x="1750661" y="13092"/>
                        <a:pt x="1764063" y="16185"/>
                      </a:cubicBezTo>
                      <a:cubicBezTo>
                        <a:pt x="1785736" y="21187"/>
                        <a:pt x="1806989" y="28007"/>
                        <a:pt x="1828800" y="32369"/>
                      </a:cubicBezTo>
                      <a:cubicBezTo>
                        <a:pt x="1950829" y="56775"/>
                        <a:pt x="1798778" y="25697"/>
                        <a:pt x="1901628" y="48553"/>
                      </a:cubicBezTo>
                      <a:cubicBezTo>
                        <a:pt x="1915054" y="51537"/>
                        <a:pt x="1928601" y="53948"/>
                        <a:pt x="1942088" y="56645"/>
                      </a:cubicBezTo>
                      <a:cubicBezTo>
                        <a:pt x="2006849" y="99819"/>
                        <a:pt x="1945954" y="65124"/>
                        <a:pt x="2103929" y="80921"/>
                      </a:cubicBezTo>
                      <a:cubicBezTo>
                        <a:pt x="2112416" y="81770"/>
                        <a:pt x="2119976" y="86769"/>
                        <a:pt x="2128205" y="89013"/>
                      </a:cubicBezTo>
                      <a:cubicBezTo>
                        <a:pt x="2149664" y="94865"/>
                        <a:pt x="2171362" y="99802"/>
                        <a:pt x="2192941" y="105197"/>
                      </a:cubicBezTo>
                      <a:cubicBezTo>
                        <a:pt x="2203730" y="107894"/>
                        <a:pt x="2214758" y="109772"/>
                        <a:pt x="2225309" y="113289"/>
                      </a:cubicBezTo>
                      <a:cubicBezTo>
                        <a:pt x="2233401" y="115986"/>
                        <a:pt x="2241357" y="119137"/>
                        <a:pt x="2249586" y="121381"/>
                      </a:cubicBezTo>
                      <a:cubicBezTo>
                        <a:pt x="2271045" y="127233"/>
                        <a:pt x="2293221" y="130531"/>
                        <a:pt x="2314322" y="137565"/>
                      </a:cubicBezTo>
                      <a:cubicBezTo>
                        <a:pt x="2322414" y="140262"/>
                        <a:pt x="2330969" y="141842"/>
                        <a:pt x="2338598" y="145657"/>
                      </a:cubicBezTo>
                      <a:cubicBezTo>
                        <a:pt x="2347297" y="150006"/>
                        <a:pt x="2354175" y="157492"/>
                        <a:pt x="2362874" y="161841"/>
                      </a:cubicBezTo>
                      <a:cubicBezTo>
                        <a:pt x="2374483" y="167645"/>
                        <a:pt x="2409147" y="175432"/>
                        <a:pt x="2419518" y="178025"/>
                      </a:cubicBezTo>
                      <a:cubicBezTo>
                        <a:pt x="2485349" y="227399"/>
                        <a:pt x="2413841" y="181527"/>
                        <a:pt x="2500439" y="210393"/>
                      </a:cubicBezTo>
                      <a:cubicBezTo>
                        <a:pt x="2509665" y="213468"/>
                        <a:pt x="2515776" y="222746"/>
                        <a:pt x="2524715" y="226577"/>
                      </a:cubicBezTo>
                      <a:cubicBezTo>
                        <a:pt x="2534937" y="230958"/>
                        <a:pt x="2546431" y="231474"/>
                        <a:pt x="2557083" y="234670"/>
                      </a:cubicBezTo>
                      <a:cubicBezTo>
                        <a:pt x="2573423" y="239572"/>
                        <a:pt x="2589451" y="245459"/>
                        <a:pt x="2605635" y="250854"/>
                      </a:cubicBezTo>
                      <a:cubicBezTo>
                        <a:pt x="2613727" y="253551"/>
                        <a:pt x="2621497" y="257544"/>
                        <a:pt x="2629911" y="258946"/>
                      </a:cubicBezTo>
                      <a:lnTo>
                        <a:pt x="2678463" y="267038"/>
                      </a:lnTo>
                      <a:lnTo>
                        <a:pt x="2727016" y="299406"/>
                      </a:lnTo>
                      <a:cubicBezTo>
                        <a:pt x="2735108" y="304801"/>
                        <a:pt x="2742066" y="312515"/>
                        <a:pt x="2751292" y="315590"/>
                      </a:cubicBezTo>
                      <a:lnTo>
                        <a:pt x="2775568" y="323682"/>
                      </a:lnTo>
                      <a:cubicBezTo>
                        <a:pt x="2783660" y="331774"/>
                        <a:pt x="2790532" y="341306"/>
                        <a:pt x="2799844" y="347958"/>
                      </a:cubicBezTo>
                      <a:cubicBezTo>
                        <a:pt x="2817343" y="360457"/>
                        <a:pt x="2836677" y="365630"/>
                        <a:pt x="2856488" y="372234"/>
                      </a:cubicBezTo>
                      <a:cubicBezTo>
                        <a:pt x="2861883" y="380326"/>
                        <a:pt x="2864580" y="391115"/>
                        <a:pt x="2872672" y="396510"/>
                      </a:cubicBezTo>
                      <a:cubicBezTo>
                        <a:pt x="2881926" y="402679"/>
                        <a:pt x="2896670" y="397279"/>
                        <a:pt x="2905040" y="404602"/>
                      </a:cubicBezTo>
                      <a:cubicBezTo>
                        <a:pt x="2919678" y="417410"/>
                        <a:pt x="2923656" y="439400"/>
                        <a:pt x="2937409" y="453154"/>
                      </a:cubicBezTo>
                      <a:cubicBezTo>
                        <a:pt x="2979458" y="495205"/>
                        <a:pt x="2920151" y="434369"/>
                        <a:pt x="2977869" y="501707"/>
                      </a:cubicBezTo>
                      <a:cubicBezTo>
                        <a:pt x="2985317" y="510396"/>
                        <a:pt x="2994819" y="517192"/>
                        <a:pt x="3002145" y="525983"/>
                      </a:cubicBezTo>
                      <a:cubicBezTo>
                        <a:pt x="3008371" y="533454"/>
                        <a:pt x="3014379" y="541372"/>
                        <a:pt x="3018329" y="550259"/>
                      </a:cubicBezTo>
                      <a:cubicBezTo>
                        <a:pt x="3025257" y="565848"/>
                        <a:pt x="3022450" y="586748"/>
                        <a:pt x="3034513" y="598811"/>
                      </a:cubicBezTo>
                      <a:lnTo>
                        <a:pt x="3058789" y="623087"/>
                      </a:lnTo>
                      <a:cubicBezTo>
                        <a:pt x="3080195" y="708713"/>
                        <a:pt x="3051132" y="607880"/>
                        <a:pt x="3083065" y="679731"/>
                      </a:cubicBezTo>
                      <a:cubicBezTo>
                        <a:pt x="3089994" y="695320"/>
                        <a:pt x="3087186" y="716221"/>
                        <a:pt x="3099249" y="728284"/>
                      </a:cubicBezTo>
                      <a:cubicBezTo>
                        <a:pt x="3152267" y="781302"/>
                        <a:pt x="3097101" y="721019"/>
                        <a:pt x="3139709" y="784928"/>
                      </a:cubicBezTo>
                      <a:cubicBezTo>
                        <a:pt x="3143941" y="791276"/>
                        <a:pt x="3151128" y="795154"/>
                        <a:pt x="3155894" y="801112"/>
                      </a:cubicBezTo>
                      <a:cubicBezTo>
                        <a:pt x="3161970" y="808706"/>
                        <a:pt x="3167729" y="816689"/>
                        <a:pt x="3172078" y="825388"/>
                      </a:cubicBezTo>
                      <a:cubicBezTo>
                        <a:pt x="3190675" y="862581"/>
                        <a:pt x="3169980" y="839474"/>
                        <a:pt x="3188262" y="857756"/>
                      </a:cubicBezTo>
                    </a:path>
                  </a:pathLst>
                </a:custGeom>
                <a:noFill/>
                <a:ln w="762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  <p:sp>
              <p:nvSpPr>
                <p:cNvPr id="86" name="Freeform 85"/>
                <p:cNvSpPr/>
                <p:nvPr/>
              </p:nvSpPr>
              <p:spPr>
                <a:xfrm>
                  <a:off x="6642818" y="1683143"/>
                  <a:ext cx="33111" cy="461246"/>
                </a:xfrm>
                <a:custGeom>
                  <a:avLst/>
                  <a:gdLst>
                    <a:gd name="connsiteX0" fmla="*/ 33111 w 33111"/>
                    <a:gd name="connsiteY0" fmla="*/ 0 h 461246"/>
                    <a:gd name="connsiteX1" fmla="*/ 8835 w 33111"/>
                    <a:gd name="connsiteY1" fmla="*/ 396510 h 461246"/>
                    <a:gd name="connsiteX2" fmla="*/ 743 w 33111"/>
                    <a:gd name="connsiteY2" fmla="*/ 420786 h 461246"/>
                    <a:gd name="connsiteX3" fmla="*/ 743 w 33111"/>
                    <a:gd name="connsiteY3" fmla="*/ 461246 h 4612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3111" h="461246">
                      <a:moveTo>
                        <a:pt x="33111" y="0"/>
                      </a:moveTo>
                      <a:cubicBezTo>
                        <a:pt x="-21008" y="162361"/>
                        <a:pt x="25812" y="6031"/>
                        <a:pt x="8835" y="396510"/>
                      </a:cubicBezTo>
                      <a:cubicBezTo>
                        <a:pt x="8464" y="405032"/>
                        <a:pt x="1801" y="412322"/>
                        <a:pt x="743" y="420786"/>
                      </a:cubicBezTo>
                      <a:cubicBezTo>
                        <a:pt x="-930" y="434169"/>
                        <a:pt x="743" y="447759"/>
                        <a:pt x="743" y="461246"/>
                      </a:cubicBezTo>
                    </a:path>
                  </a:pathLst>
                </a:custGeom>
                <a:noFill/>
                <a:ln w="571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  <p:sp>
              <p:nvSpPr>
                <p:cNvPr id="87" name="Freeform 86"/>
                <p:cNvSpPr/>
                <p:nvPr/>
              </p:nvSpPr>
              <p:spPr>
                <a:xfrm>
                  <a:off x="6255143" y="1958273"/>
                  <a:ext cx="372234" cy="153748"/>
                </a:xfrm>
                <a:custGeom>
                  <a:avLst/>
                  <a:gdLst>
                    <a:gd name="connsiteX0" fmla="*/ 0 w 372234"/>
                    <a:gd name="connsiteY0" fmla="*/ 0 h 153748"/>
                    <a:gd name="connsiteX1" fmla="*/ 40461 w 372234"/>
                    <a:gd name="connsiteY1" fmla="*/ 16184 h 153748"/>
                    <a:gd name="connsiteX2" fmla="*/ 64737 w 372234"/>
                    <a:gd name="connsiteY2" fmla="*/ 24276 h 153748"/>
                    <a:gd name="connsiteX3" fmla="*/ 89013 w 372234"/>
                    <a:gd name="connsiteY3" fmla="*/ 40460 h 153748"/>
                    <a:gd name="connsiteX4" fmla="*/ 121381 w 372234"/>
                    <a:gd name="connsiteY4" fmla="*/ 56644 h 153748"/>
                    <a:gd name="connsiteX5" fmla="*/ 145657 w 372234"/>
                    <a:gd name="connsiteY5" fmla="*/ 72828 h 153748"/>
                    <a:gd name="connsiteX6" fmla="*/ 194209 w 372234"/>
                    <a:gd name="connsiteY6" fmla="*/ 89012 h 153748"/>
                    <a:gd name="connsiteX7" fmla="*/ 242761 w 372234"/>
                    <a:gd name="connsiteY7" fmla="*/ 113288 h 153748"/>
                    <a:gd name="connsiteX8" fmla="*/ 331774 w 372234"/>
                    <a:gd name="connsiteY8" fmla="*/ 121380 h 153748"/>
                    <a:gd name="connsiteX9" fmla="*/ 356050 w 372234"/>
                    <a:gd name="connsiteY9" fmla="*/ 129472 h 153748"/>
                    <a:gd name="connsiteX10" fmla="*/ 372234 w 372234"/>
                    <a:gd name="connsiteY10" fmla="*/ 153748 h 1537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72234" h="153748">
                      <a:moveTo>
                        <a:pt x="0" y="0"/>
                      </a:moveTo>
                      <a:cubicBezTo>
                        <a:pt x="13487" y="5395"/>
                        <a:pt x="26860" y="11084"/>
                        <a:pt x="40461" y="16184"/>
                      </a:cubicBezTo>
                      <a:cubicBezTo>
                        <a:pt x="48448" y="19179"/>
                        <a:pt x="57108" y="20461"/>
                        <a:pt x="64737" y="24276"/>
                      </a:cubicBezTo>
                      <a:cubicBezTo>
                        <a:pt x="73436" y="28625"/>
                        <a:pt x="80569" y="35635"/>
                        <a:pt x="89013" y="40460"/>
                      </a:cubicBezTo>
                      <a:cubicBezTo>
                        <a:pt x="99486" y="46445"/>
                        <a:pt x="110908" y="50659"/>
                        <a:pt x="121381" y="56644"/>
                      </a:cubicBezTo>
                      <a:cubicBezTo>
                        <a:pt x="129825" y="61469"/>
                        <a:pt x="136770" y="68878"/>
                        <a:pt x="145657" y="72828"/>
                      </a:cubicBezTo>
                      <a:cubicBezTo>
                        <a:pt x="161246" y="79756"/>
                        <a:pt x="180015" y="79549"/>
                        <a:pt x="194209" y="89012"/>
                      </a:cubicBezTo>
                      <a:cubicBezTo>
                        <a:pt x="211692" y="100667"/>
                        <a:pt x="221441" y="110242"/>
                        <a:pt x="242761" y="113288"/>
                      </a:cubicBezTo>
                      <a:cubicBezTo>
                        <a:pt x="272255" y="117501"/>
                        <a:pt x="302103" y="118683"/>
                        <a:pt x="331774" y="121380"/>
                      </a:cubicBezTo>
                      <a:cubicBezTo>
                        <a:pt x="339866" y="124077"/>
                        <a:pt x="349389" y="124144"/>
                        <a:pt x="356050" y="129472"/>
                      </a:cubicBezTo>
                      <a:cubicBezTo>
                        <a:pt x="363644" y="135547"/>
                        <a:pt x="372234" y="153748"/>
                        <a:pt x="372234" y="153748"/>
                      </a:cubicBezTo>
                    </a:path>
                  </a:pathLst>
                </a:custGeom>
                <a:noFill/>
                <a:ln w="571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</p:grpSp>
          <p:grpSp>
            <p:nvGrpSpPr>
              <p:cNvPr id="81" name="Group 80"/>
              <p:cNvGrpSpPr/>
              <p:nvPr/>
            </p:nvGrpSpPr>
            <p:grpSpPr>
              <a:xfrm>
                <a:off x="6165675" y="1097562"/>
                <a:ext cx="242602" cy="961289"/>
                <a:chOff x="2219480" y="1913766"/>
                <a:chExt cx="823709" cy="3263876"/>
              </a:xfrm>
            </p:grpSpPr>
            <p:sp>
              <p:nvSpPr>
                <p:cNvPr id="82" name="Freeform 81"/>
                <p:cNvSpPr/>
                <p:nvPr/>
              </p:nvSpPr>
              <p:spPr>
                <a:xfrm>
                  <a:off x="2219480" y="2627937"/>
                  <a:ext cx="209685" cy="1545578"/>
                </a:xfrm>
                <a:custGeom>
                  <a:avLst/>
                  <a:gdLst>
                    <a:gd name="connsiteX0" fmla="*/ 121381 w 202325"/>
                    <a:gd name="connsiteY0" fmla="*/ 1545578 h 1545578"/>
                    <a:gd name="connsiteX1" fmla="*/ 89013 w 202325"/>
                    <a:gd name="connsiteY1" fmla="*/ 1448474 h 1545578"/>
                    <a:gd name="connsiteX2" fmla="*/ 72828 w 202325"/>
                    <a:gd name="connsiteY2" fmla="*/ 1399922 h 1545578"/>
                    <a:gd name="connsiteX3" fmla="*/ 64736 w 202325"/>
                    <a:gd name="connsiteY3" fmla="*/ 1294725 h 1545578"/>
                    <a:gd name="connsiteX4" fmla="*/ 56644 w 202325"/>
                    <a:gd name="connsiteY4" fmla="*/ 1229989 h 1545578"/>
                    <a:gd name="connsiteX5" fmla="*/ 48552 w 202325"/>
                    <a:gd name="connsiteY5" fmla="*/ 1132884 h 1545578"/>
                    <a:gd name="connsiteX6" fmla="*/ 16184 w 202325"/>
                    <a:gd name="connsiteY6" fmla="*/ 1084332 h 1545578"/>
                    <a:gd name="connsiteX7" fmla="*/ 0 w 202325"/>
                    <a:gd name="connsiteY7" fmla="*/ 1027688 h 1545578"/>
                    <a:gd name="connsiteX8" fmla="*/ 8092 w 202325"/>
                    <a:gd name="connsiteY8" fmla="*/ 704007 h 1545578"/>
                    <a:gd name="connsiteX9" fmla="*/ 16184 w 202325"/>
                    <a:gd name="connsiteY9" fmla="*/ 647362 h 1545578"/>
                    <a:gd name="connsiteX10" fmla="*/ 24276 w 202325"/>
                    <a:gd name="connsiteY10" fmla="*/ 574534 h 1545578"/>
                    <a:gd name="connsiteX11" fmla="*/ 48552 w 202325"/>
                    <a:gd name="connsiteY11" fmla="*/ 485522 h 1545578"/>
                    <a:gd name="connsiteX12" fmla="*/ 72828 w 202325"/>
                    <a:gd name="connsiteY12" fmla="*/ 404601 h 1545578"/>
                    <a:gd name="connsiteX13" fmla="*/ 97105 w 202325"/>
                    <a:gd name="connsiteY13" fmla="*/ 331773 h 1545578"/>
                    <a:gd name="connsiteX14" fmla="*/ 105197 w 202325"/>
                    <a:gd name="connsiteY14" fmla="*/ 307497 h 1545578"/>
                    <a:gd name="connsiteX15" fmla="*/ 113289 w 202325"/>
                    <a:gd name="connsiteY15" fmla="*/ 283221 h 1545578"/>
                    <a:gd name="connsiteX16" fmla="*/ 129473 w 202325"/>
                    <a:gd name="connsiteY16" fmla="*/ 258945 h 1545578"/>
                    <a:gd name="connsiteX17" fmla="*/ 137565 w 202325"/>
                    <a:gd name="connsiteY17" fmla="*/ 226576 h 1545578"/>
                    <a:gd name="connsiteX18" fmla="*/ 153749 w 202325"/>
                    <a:gd name="connsiteY18" fmla="*/ 178024 h 1545578"/>
                    <a:gd name="connsiteX19" fmla="*/ 161841 w 202325"/>
                    <a:gd name="connsiteY19" fmla="*/ 153748 h 1545578"/>
                    <a:gd name="connsiteX20" fmla="*/ 194209 w 202325"/>
                    <a:gd name="connsiteY20" fmla="*/ 64736 h 1545578"/>
                    <a:gd name="connsiteX21" fmla="*/ 202301 w 202325"/>
                    <a:gd name="connsiteY21" fmla="*/ 0 h 1545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02325" h="1545578">
                      <a:moveTo>
                        <a:pt x="121381" y="1545578"/>
                      </a:moveTo>
                      <a:cubicBezTo>
                        <a:pt x="77561" y="1457938"/>
                        <a:pt x="111148" y="1537011"/>
                        <a:pt x="89013" y="1448474"/>
                      </a:cubicBezTo>
                      <a:cubicBezTo>
                        <a:pt x="84875" y="1431924"/>
                        <a:pt x="72828" y="1399922"/>
                        <a:pt x="72828" y="1399922"/>
                      </a:cubicBezTo>
                      <a:cubicBezTo>
                        <a:pt x="70131" y="1364856"/>
                        <a:pt x="68070" y="1329736"/>
                        <a:pt x="64736" y="1294725"/>
                      </a:cubicBezTo>
                      <a:cubicBezTo>
                        <a:pt x="62674" y="1273076"/>
                        <a:pt x="58808" y="1251628"/>
                        <a:pt x="56644" y="1229989"/>
                      </a:cubicBezTo>
                      <a:cubicBezTo>
                        <a:pt x="53412" y="1197670"/>
                        <a:pt x="57245" y="1164180"/>
                        <a:pt x="48552" y="1132884"/>
                      </a:cubicBezTo>
                      <a:cubicBezTo>
                        <a:pt x="43346" y="1114143"/>
                        <a:pt x="22335" y="1102785"/>
                        <a:pt x="16184" y="1084332"/>
                      </a:cubicBezTo>
                      <a:cubicBezTo>
                        <a:pt x="4575" y="1049505"/>
                        <a:pt x="10161" y="1068331"/>
                        <a:pt x="0" y="1027688"/>
                      </a:cubicBezTo>
                      <a:cubicBezTo>
                        <a:pt x="2697" y="919794"/>
                        <a:pt x="3504" y="811837"/>
                        <a:pt x="8092" y="704007"/>
                      </a:cubicBezTo>
                      <a:cubicBezTo>
                        <a:pt x="8903" y="684951"/>
                        <a:pt x="13818" y="666288"/>
                        <a:pt x="16184" y="647362"/>
                      </a:cubicBezTo>
                      <a:cubicBezTo>
                        <a:pt x="19214" y="623125"/>
                        <a:pt x="20822" y="598714"/>
                        <a:pt x="24276" y="574534"/>
                      </a:cubicBezTo>
                      <a:cubicBezTo>
                        <a:pt x="33607" y="509215"/>
                        <a:pt x="30631" y="557207"/>
                        <a:pt x="48552" y="485522"/>
                      </a:cubicBezTo>
                      <a:cubicBezTo>
                        <a:pt x="60781" y="436603"/>
                        <a:pt x="53127" y="463704"/>
                        <a:pt x="72828" y="404601"/>
                      </a:cubicBezTo>
                      <a:lnTo>
                        <a:pt x="97105" y="331773"/>
                      </a:lnTo>
                      <a:lnTo>
                        <a:pt x="105197" y="307497"/>
                      </a:lnTo>
                      <a:cubicBezTo>
                        <a:pt x="107894" y="299405"/>
                        <a:pt x="108558" y="290318"/>
                        <a:pt x="113289" y="283221"/>
                      </a:cubicBezTo>
                      <a:lnTo>
                        <a:pt x="129473" y="258945"/>
                      </a:lnTo>
                      <a:cubicBezTo>
                        <a:pt x="132170" y="248155"/>
                        <a:pt x="134369" y="237229"/>
                        <a:pt x="137565" y="226576"/>
                      </a:cubicBezTo>
                      <a:cubicBezTo>
                        <a:pt x="142467" y="210236"/>
                        <a:pt x="148354" y="194208"/>
                        <a:pt x="153749" y="178024"/>
                      </a:cubicBezTo>
                      <a:cubicBezTo>
                        <a:pt x="156446" y="169932"/>
                        <a:pt x="159772" y="162023"/>
                        <a:pt x="161841" y="153748"/>
                      </a:cubicBezTo>
                      <a:cubicBezTo>
                        <a:pt x="180384" y="79577"/>
                        <a:pt x="165687" y="107519"/>
                        <a:pt x="194209" y="64736"/>
                      </a:cubicBezTo>
                      <a:cubicBezTo>
                        <a:pt x="203188" y="10863"/>
                        <a:pt x="202301" y="32591"/>
                        <a:pt x="202301" y="0"/>
                      </a:cubicBezTo>
                    </a:path>
                  </a:pathLst>
                </a:custGeom>
                <a:noFill/>
                <a:ln w="762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  <p:sp>
              <p:nvSpPr>
                <p:cNvPr id="83" name="Freeform 82"/>
                <p:cNvSpPr/>
                <p:nvPr/>
              </p:nvSpPr>
              <p:spPr>
                <a:xfrm>
                  <a:off x="2300572" y="4013860"/>
                  <a:ext cx="742617" cy="1163782"/>
                </a:xfrm>
                <a:custGeom>
                  <a:avLst/>
                  <a:gdLst>
                    <a:gd name="connsiteX0" fmla="*/ 666324 w 666324"/>
                    <a:gd name="connsiteY0" fmla="*/ 1163782 h 1163782"/>
                    <a:gd name="connsiteX1" fmla="*/ 606948 w 666324"/>
                    <a:gd name="connsiteY1" fmla="*/ 1140031 h 1163782"/>
                    <a:gd name="connsiteX2" fmla="*/ 571322 w 666324"/>
                    <a:gd name="connsiteY2" fmla="*/ 1104405 h 1163782"/>
                    <a:gd name="connsiteX3" fmla="*/ 535696 w 666324"/>
                    <a:gd name="connsiteY3" fmla="*/ 1080655 h 1163782"/>
                    <a:gd name="connsiteX4" fmla="*/ 476319 w 666324"/>
                    <a:gd name="connsiteY4" fmla="*/ 1009403 h 1163782"/>
                    <a:gd name="connsiteX5" fmla="*/ 405067 w 666324"/>
                    <a:gd name="connsiteY5" fmla="*/ 902525 h 1163782"/>
                    <a:gd name="connsiteX6" fmla="*/ 345690 w 666324"/>
                    <a:gd name="connsiteY6" fmla="*/ 819397 h 1163782"/>
                    <a:gd name="connsiteX7" fmla="*/ 310064 w 666324"/>
                    <a:gd name="connsiteY7" fmla="*/ 748146 h 1163782"/>
                    <a:gd name="connsiteX8" fmla="*/ 238812 w 666324"/>
                    <a:gd name="connsiteY8" fmla="*/ 629392 h 1163782"/>
                    <a:gd name="connsiteX9" fmla="*/ 215062 w 666324"/>
                    <a:gd name="connsiteY9" fmla="*/ 593766 h 1163782"/>
                    <a:gd name="connsiteX10" fmla="*/ 191311 w 666324"/>
                    <a:gd name="connsiteY10" fmla="*/ 558140 h 1163782"/>
                    <a:gd name="connsiteX11" fmla="*/ 143810 w 666324"/>
                    <a:gd name="connsiteY11" fmla="*/ 475013 h 1163782"/>
                    <a:gd name="connsiteX12" fmla="*/ 131935 w 666324"/>
                    <a:gd name="connsiteY12" fmla="*/ 427512 h 1163782"/>
                    <a:gd name="connsiteX13" fmla="*/ 108184 w 666324"/>
                    <a:gd name="connsiteY13" fmla="*/ 356260 h 1163782"/>
                    <a:gd name="connsiteX14" fmla="*/ 84433 w 666324"/>
                    <a:gd name="connsiteY14" fmla="*/ 285008 h 1163782"/>
                    <a:gd name="connsiteX15" fmla="*/ 48807 w 666324"/>
                    <a:gd name="connsiteY15" fmla="*/ 190005 h 1163782"/>
                    <a:gd name="connsiteX16" fmla="*/ 36932 w 666324"/>
                    <a:gd name="connsiteY16" fmla="*/ 95003 h 1163782"/>
                    <a:gd name="connsiteX17" fmla="*/ 1306 w 666324"/>
                    <a:gd name="connsiteY17" fmla="*/ 23751 h 1163782"/>
                    <a:gd name="connsiteX18" fmla="*/ 1306 w 666324"/>
                    <a:gd name="connsiteY18" fmla="*/ 0 h 1163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666324" h="1163782">
                      <a:moveTo>
                        <a:pt x="666324" y="1163782"/>
                      </a:moveTo>
                      <a:cubicBezTo>
                        <a:pt x="646532" y="1155865"/>
                        <a:pt x="625024" y="1151329"/>
                        <a:pt x="606948" y="1140031"/>
                      </a:cubicBezTo>
                      <a:cubicBezTo>
                        <a:pt x="592707" y="1131130"/>
                        <a:pt x="584224" y="1115156"/>
                        <a:pt x="571322" y="1104405"/>
                      </a:cubicBezTo>
                      <a:cubicBezTo>
                        <a:pt x="560358" y="1095268"/>
                        <a:pt x="547571" y="1088572"/>
                        <a:pt x="535696" y="1080655"/>
                      </a:cubicBezTo>
                      <a:cubicBezTo>
                        <a:pt x="450818" y="953339"/>
                        <a:pt x="583003" y="1146569"/>
                        <a:pt x="476319" y="1009403"/>
                      </a:cubicBezTo>
                      <a:cubicBezTo>
                        <a:pt x="393269" y="902624"/>
                        <a:pt x="458468" y="973727"/>
                        <a:pt x="405067" y="902525"/>
                      </a:cubicBezTo>
                      <a:cubicBezTo>
                        <a:pt x="360878" y="843605"/>
                        <a:pt x="380420" y="871491"/>
                        <a:pt x="345690" y="819397"/>
                      </a:cubicBezTo>
                      <a:cubicBezTo>
                        <a:pt x="323916" y="754075"/>
                        <a:pt x="346899" y="812607"/>
                        <a:pt x="310064" y="748146"/>
                      </a:cubicBezTo>
                      <a:cubicBezTo>
                        <a:pt x="237020" y="620318"/>
                        <a:pt x="355035" y="803726"/>
                        <a:pt x="238812" y="629392"/>
                      </a:cubicBezTo>
                      <a:lnTo>
                        <a:pt x="215062" y="593766"/>
                      </a:lnTo>
                      <a:lnTo>
                        <a:pt x="191311" y="558140"/>
                      </a:lnTo>
                      <a:cubicBezTo>
                        <a:pt x="160084" y="433230"/>
                        <a:pt x="206698" y="585068"/>
                        <a:pt x="143810" y="475013"/>
                      </a:cubicBezTo>
                      <a:cubicBezTo>
                        <a:pt x="135713" y="460842"/>
                        <a:pt x="136625" y="443145"/>
                        <a:pt x="131935" y="427512"/>
                      </a:cubicBezTo>
                      <a:cubicBezTo>
                        <a:pt x="124741" y="403532"/>
                        <a:pt x="116101" y="380011"/>
                        <a:pt x="108184" y="356260"/>
                      </a:cubicBezTo>
                      <a:lnTo>
                        <a:pt x="84433" y="285008"/>
                      </a:lnTo>
                      <a:cubicBezTo>
                        <a:pt x="53384" y="222909"/>
                        <a:pt x="64977" y="254681"/>
                        <a:pt x="48807" y="190005"/>
                      </a:cubicBezTo>
                      <a:cubicBezTo>
                        <a:pt x="44849" y="158338"/>
                        <a:pt x="42641" y="126402"/>
                        <a:pt x="36932" y="95003"/>
                      </a:cubicBezTo>
                      <a:cubicBezTo>
                        <a:pt x="25227" y="30624"/>
                        <a:pt x="26661" y="87138"/>
                        <a:pt x="1306" y="23751"/>
                      </a:cubicBezTo>
                      <a:cubicBezTo>
                        <a:pt x="-1634" y="16400"/>
                        <a:pt x="1306" y="7917"/>
                        <a:pt x="1306" y="0"/>
                      </a:cubicBezTo>
                    </a:path>
                  </a:pathLst>
                </a:custGeom>
                <a:noFill/>
                <a:ln w="571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  <p:sp>
              <p:nvSpPr>
                <p:cNvPr id="84" name="Freeform 83"/>
                <p:cNvSpPr/>
                <p:nvPr/>
              </p:nvSpPr>
              <p:spPr>
                <a:xfrm rot="402998">
                  <a:off x="2470066" y="1913766"/>
                  <a:ext cx="510639" cy="817559"/>
                </a:xfrm>
                <a:custGeom>
                  <a:avLst/>
                  <a:gdLst>
                    <a:gd name="connsiteX0" fmla="*/ 0 w 510639"/>
                    <a:gd name="connsiteY0" fmla="*/ 712520 h 712520"/>
                    <a:gd name="connsiteX1" fmla="*/ 23750 w 510639"/>
                    <a:gd name="connsiteY1" fmla="*/ 653143 h 712520"/>
                    <a:gd name="connsiteX2" fmla="*/ 35626 w 510639"/>
                    <a:gd name="connsiteY2" fmla="*/ 617517 h 712520"/>
                    <a:gd name="connsiteX3" fmla="*/ 59376 w 510639"/>
                    <a:gd name="connsiteY3" fmla="*/ 581891 h 712520"/>
                    <a:gd name="connsiteX4" fmla="*/ 106878 w 510639"/>
                    <a:gd name="connsiteY4" fmla="*/ 475013 h 712520"/>
                    <a:gd name="connsiteX5" fmla="*/ 118753 w 510639"/>
                    <a:gd name="connsiteY5" fmla="*/ 439387 h 712520"/>
                    <a:gd name="connsiteX6" fmla="*/ 166254 w 510639"/>
                    <a:gd name="connsiteY6" fmla="*/ 368135 h 712520"/>
                    <a:gd name="connsiteX7" fmla="*/ 178129 w 510639"/>
                    <a:gd name="connsiteY7" fmla="*/ 332509 h 712520"/>
                    <a:gd name="connsiteX8" fmla="*/ 225631 w 510639"/>
                    <a:gd name="connsiteY8" fmla="*/ 261257 h 712520"/>
                    <a:gd name="connsiteX9" fmla="*/ 285007 w 510639"/>
                    <a:gd name="connsiteY9" fmla="*/ 154379 h 712520"/>
                    <a:gd name="connsiteX10" fmla="*/ 308758 w 510639"/>
                    <a:gd name="connsiteY10" fmla="*/ 118753 h 712520"/>
                    <a:gd name="connsiteX11" fmla="*/ 332509 w 510639"/>
                    <a:gd name="connsiteY11" fmla="*/ 83127 h 712520"/>
                    <a:gd name="connsiteX12" fmla="*/ 368135 w 510639"/>
                    <a:gd name="connsiteY12" fmla="*/ 59377 h 712520"/>
                    <a:gd name="connsiteX13" fmla="*/ 475013 w 510639"/>
                    <a:gd name="connsiteY13" fmla="*/ 11876 h 712520"/>
                    <a:gd name="connsiteX14" fmla="*/ 510639 w 510639"/>
                    <a:gd name="connsiteY14" fmla="*/ 0 h 7125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510639" h="712520">
                      <a:moveTo>
                        <a:pt x="0" y="712520"/>
                      </a:moveTo>
                      <a:cubicBezTo>
                        <a:pt x="7917" y="692728"/>
                        <a:pt x="16265" y="673103"/>
                        <a:pt x="23750" y="653143"/>
                      </a:cubicBezTo>
                      <a:cubicBezTo>
                        <a:pt x="28145" y="641422"/>
                        <a:pt x="30028" y="628713"/>
                        <a:pt x="35626" y="617517"/>
                      </a:cubicBezTo>
                      <a:cubicBezTo>
                        <a:pt x="42009" y="604752"/>
                        <a:pt x="53580" y="594933"/>
                        <a:pt x="59376" y="581891"/>
                      </a:cubicBezTo>
                      <a:cubicBezTo>
                        <a:pt x="115901" y="454708"/>
                        <a:pt x="53129" y="555636"/>
                        <a:pt x="106878" y="475013"/>
                      </a:cubicBezTo>
                      <a:cubicBezTo>
                        <a:pt x="110836" y="463138"/>
                        <a:pt x="112674" y="450329"/>
                        <a:pt x="118753" y="439387"/>
                      </a:cubicBezTo>
                      <a:cubicBezTo>
                        <a:pt x="132615" y="414434"/>
                        <a:pt x="166254" y="368135"/>
                        <a:pt x="166254" y="368135"/>
                      </a:cubicBezTo>
                      <a:cubicBezTo>
                        <a:pt x="170212" y="356260"/>
                        <a:pt x="172050" y="343451"/>
                        <a:pt x="178129" y="332509"/>
                      </a:cubicBezTo>
                      <a:cubicBezTo>
                        <a:pt x="191992" y="307556"/>
                        <a:pt x="225631" y="261257"/>
                        <a:pt x="225631" y="261257"/>
                      </a:cubicBezTo>
                      <a:cubicBezTo>
                        <a:pt x="246532" y="198552"/>
                        <a:pt x="230563" y="236045"/>
                        <a:pt x="285007" y="154379"/>
                      </a:cubicBezTo>
                      <a:lnTo>
                        <a:pt x="308758" y="118753"/>
                      </a:lnTo>
                      <a:cubicBezTo>
                        <a:pt x="316675" y="106878"/>
                        <a:pt x="320634" y="91044"/>
                        <a:pt x="332509" y="83127"/>
                      </a:cubicBezTo>
                      <a:lnTo>
                        <a:pt x="368135" y="59377"/>
                      </a:lnTo>
                      <a:cubicBezTo>
                        <a:pt x="390951" y="-9074"/>
                        <a:pt x="365423" y="31802"/>
                        <a:pt x="475013" y="11876"/>
                      </a:cubicBezTo>
                      <a:cubicBezTo>
                        <a:pt x="487329" y="9637"/>
                        <a:pt x="510639" y="0"/>
                        <a:pt x="510639" y="0"/>
                      </a:cubicBezTo>
                    </a:path>
                  </a:pathLst>
                </a:custGeom>
                <a:noFill/>
                <a:ln w="571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</p:grpSp>
        </p:grpSp>
        <p:sp>
          <p:nvSpPr>
            <p:cNvPr id="79" name="Rectangle 78"/>
            <p:cNvSpPr/>
            <p:nvPr/>
          </p:nvSpPr>
          <p:spPr>
            <a:xfrm>
              <a:off x="3498073" y="1874122"/>
              <a:ext cx="2356735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2400" dirty="0" smtClean="0">
                  <a:solidFill>
                    <a:srgbClr val="FFFFFF"/>
                  </a:solidFill>
                  <a:latin typeface="MV Boli" panose="02000500030200090000" pitchFamily="2" charset="0"/>
                  <a:cs typeface="MV Boli" panose="02000500030200090000" pitchFamily="2" charset="0"/>
                </a:rPr>
                <a:t>Rapid Feedback</a:t>
              </a:r>
              <a:endParaRPr lang="en-GB" sz="24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113" name="Group 112"/>
          <p:cNvGrpSpPr/>
          <p:nvPr/>
        </p:nvGrpSpPr>
        <p:grpSpPr>
          <a:xfrm>
            <a:off x="3938371" y="181734"/>
            <a:ext cx="4772640" cy="4238916"/>
            <a:chOff x="3967600" y="71250"/>
            <a:chExt cx="4772640" cy="4238916"/>
          </a:xfrm>
          <a:solidFill>
            <a:schemeClr val="tx1"/>
          </a:solidFill>
        </p:grpSpPr>
        <p:sp>
          <p:nvSpPr>
            <p:cNvPr id="114" name="Rectangle 113"/>
            <p:cNvSpPr/>
            <p:nvPr/>
          </p:nvSpPr>
          <p:spPr>
            <a:xfrm>
              <a:off x="3967600" y="71250"/>
              <a:ext cx="4772640" cy="3431512"/>
            </a:xfrm>
            <a:prstGeom prst="rect">
              <a:avLst/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5133320" y="2934379"/>
              <a:ext cx="2296930" cy="1375787"/>
            </a:xfrm>
            <a:prstGeom prst="rect">
              <a:avLst/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</p:grpSp>
      <p:sp>
        <p:nvSpPr>
          <p:cNvPr id="116" name="Rectangle 115"/>
          <p:cNvSpPr/>
          <p:nvPr/>
        </p:nvSpPr>
        <p:spPr>
          <a:xfrm>
            <a:off x="2077158" y="2934668"/>
            <a:ext cx="235673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2400" dirty="0" smtClean="0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Rapid Feedback</a:t>
            </a:r>
            <a:endParaRPr lang="en-GB" sz="24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7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/>
          <a:p>
            <a:r>
              <a:rPr dirty="0" smtClean="0">
                <a:solidFill>
                  <a:srgbClr val="666666"/>
                </a:solidFill>
              </a:rPr>
              <a:t>Copyright © </a:t>
            </a:r>
            <a:r>
              <a:rPr lang="en-GB" dirty="0" smtClean="0">
                <a:solidFill>
                  <a:srgbClr val="666666"/>
                </a:solidFill>
              </a:rPr>
              <a:t>2015</a:t>
            </a:r>
            <a:r>
              <a:rPr dirty="0" smtClean="0">
                <a:solidFill>
                  <a:srgbClr val="666666"/>
                </a:solidFill>
              </a:rPr>
              <a:t> Accenture  All rights reserved.</a:t>
            </a:r>
            <a:endParaRPr dirty="0">
              <a:solidFill>
                <a:srgbClr val="666666"/>
              </a:solidFill>
            </a:endParaRPr>
          </a:p>
        </p:txBody>
      </p:sp>
      <p:sp>
        <p:nvSpPr>
          <p:cNvPr id="75" name="Title 3"/>
          <p:cNvSpPr txBox="1">
            <a:spLocks/>
          </p:cNvSpPr>
          <p:nvPr/>
        </p:nvSpPr>
        <p:spPr>
          <a:xfrm>
            <a:off x="496800" y="5"/>
            <a:ext cx="8151900" cy="100297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300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endParaRPr lang="en-GB">
              <a:solidFill>
                <a:srgbClr val="FFFFFF"/>
              </a:solidFill>
            </a:endParaRPr>
          </a:p>
          <a:p>
            <a:endParaRPr lang="en-GB">
              <a:solidFill>
                <a:srgbClr val="FFFFFF"/>
              </a:solidFill>
            </a:endParaRPr>
          </a:p>
          <a:p>
            <a:r>
              <a:rPr lang="en-GB">
                <a:solidFill>
                  <a:srgbClr val="FFFFFF"/>
                </a:solidFill>
              </a:rPr>
              <a:t>This is this…</a:t>
            </a:r>
          </a:p>
        </p:txBody>
      </p:sp>
    </p:spTree>
    <p:extLst>
      <p:ext uri="{BB962C8B-B14F-4D97-AF65-F5344CB8AC3E}">
        <p14:creationId xmlns:p14="http://schemas.microsoft.com/office/powerpoint/2010/main" val="168006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6" dur="20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6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dirty="0" smtClean="0">
                <a:solidFill>
                  <a:srgbClr val="666666"/>
                </a:solidFill>
              </a:rPr>
              <a:t>Copyright © </a:t>
            </a:r>
            <a:r>
              <a:rPr lang="en-GB" dirty="0" smtClean="0">
                <a:solidFill>
                  <a:srgbClr val="666666"/>
                </a:solidFill>
              </a:rPr>
              <a:t>2015</a:t>
            </a:r>
            <a:r>
              <a:rPr dirty="0" smtClean="0">
                <a:solidFill>
                  <a:srgbClr val="666666"/>
                </a:solidFill>
              </a:rPr>
              <a:t> Accenture  All rights reserved.</a:t>
            </a:r>
            <a:endParaRPr dirty="0">
              <a:solidFill>
                <a:srgbClr val="666666"/>
              </a:solidFill>
            </a:endParaRPr>
          </a:p>
        </p:txBody>
      </p:sp>
      <p:sp>
        <p:nvSpPr>
          <p:cNvPr id="15" name="Title 3"/>
          <p:cNvSpPr txBox="1">
            <a:spLocks/>
          </p:cNvSpPr>
          <p:nvPr/>
        </p:nvSpPr>
        <p:spPr>
          <a:xfrm>
            <a:off x="496800" y="5"/>
            <a:ext cx="8151900" cy="100297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300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endParaRPr lang="en-GB">
              <a:solidFill>
                <a:srgbClr val="FFFFFF"/>
              </a:solidFill>
            </a:endParaRPr>
          </a:p>
          <a:p>
            <a:endParaRPr lang="en-GB">
              <a:solidFill>
                <a:srgbClr val="FFFFFF"/>
              </a:solidFill>
            </a:endParaRPr>
          </a:p>
          <a:p>
            <a:r>
              <a:rPr lang="en-GB">
                <a:solidFill>
                  <a:srgbClr val="FFFFFF"/>
                </a:solidFill>
              </a:rPr>
              <a:t>Everything is all about this</a:t>
            </a:r>
          </a:p>
        </p:txBody>
      </p:sp>
      <p:pic>
        <p:nvPicPr>
          <p:cNvPr id="17" name="Picture 6" descr="devopsPaa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1556792"/>
            <a:ext cx="7139413" cy="4536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3"/>
          <p:cNvSpPr txBox="1">
            <a:spLocks/>
          </p:cNvSpPr>
          <p:nvPr/>
        </p:nvSpPr>
        <p:spPr>
          <a:xfrm>
            <a:off x="649200" y="152405"/>
            <a:ext cx="8151900" cy="100297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300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endParaRPr lang="en-GB">
              <a:solidFill>
                <a:srgbClr val="000000"/>
              </a:solidFill>
            </a:endParaRPr>
          </a:p>
          <a:p>
            <a:endParaRPr lang="en-GB">
              <a:solidFill>
                <a:srgbClr val="000000"/>
              </a:solidFill>
            </a:endParaRPr>
          </a:p>
          <a:p>
            <a:r>
              <a:rPr lang="en-GB">
                <a:solidFill>
                  <a:srgbClr val="000000"/>
                </a:solidFill>
              </a:rPr>
              <a:t>This could be the future</a:t>
            </a:r>
          </a:p>
        </p:txBody>
      </p:sp>
    </p:spTree>
    <p:extLst>
      <p:ext uri="{BB962C8B-B14F-4D97-AF65-F5344CB8AC3E}">
        <p14:creationId xmlns:p14="http://schemas.microsoft.com/office/powerpoint/2010/main" val="1824253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463" y="621802"/>
            <a:ext cx="8585200" cy="55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470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Go Back and Preach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133096" y="2440283"/>
            <a:ext cx="9010903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3200" dirty="0" smtClean="0"/>
              <a:t>What are the biggest </a:t>
            </a:r>
          </a:p>
          <a:p>
            <a:r>
              <a:rPr lang="en-GB" sz="3200" dirty="0" smtClean="0"/>
              <a:t>“leap of faith” assumptions (about value)</a:t>
            </a:r>
          </a:p>
          <a:p>
            <a:r>
              <a:rPr lang="en-GB" sz="3200" dirty="0"/>
              <a:t>on your account </a:t>
            </a:r>
          </a:p>
          <a:p>
            <a:r>
              <a:rPr lang="en-GB" sz="3200" dirty="0" smtClean="0"/>
              <a:t>and how could you test them (ASAP)?</a:t>
            </a:r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27721938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Go Back and </a:t>
            </a:r>
            <a:r>
              <a:rPr lang="en-GB" dirty="0" smtClean="0"/>
              <a:t>Preach – other ideas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264694" y="1237995"/>
            <a:ext cx="8662737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GB" dirty="0" smtClean="0"/>
              <a:t>Who </a:t>
            </a:r>
            <a:r>
              <a:rPr lang="en-GB" dirty="0"/>
              <a:t>does what and why – can hand-offs be reduced to optimise more widely and improve throughput</a:t>
            </a:r>
          </a:p>
          <a:p>
            <a:pPr marL="342900" indent="-342900">
              <a:buFont typeface="+mj-lt"/>
              <a:buAutoNum type="arabicPeriod"/>
            </a:pPr>
            <a:endParaRPr lang="en-GB" dirty="0"/>
          </a:p>
          <a:p>
            <a:pPr marL="342900" indent="-342900">
              <a:buFont typeface="+mj-lt"/>
              <a:buAutoNum type="arabicPeriod"/>
            </a:pPr>
            <a:r>
              <a:rPr lang="en-GB" dirty="0" smtClean="0"/>
              <a:t>Who </a:t>
            </a:r>
            <a:r>
              <a:rPr lang="en-GB" dirty="0"/>
              <a:t>do we ideally want to trust more and how can we do that – can the development organisation be accountable for quality?</a:t>
            </a:r>
          </a:p>
          <a:p>
            <a:pPr marL="342900" indent="-342900">
              <a:buFont typeface="+mj-lt"/>
              <a:buAutoNum type="arabicPeriod"/>
            </a:pPr>
            <a:endParaRPr lang="en-GB" dirty="0"/>
          </a:p>
          <a:p>
            <a:pPr marL="342900" indent="-342900">
              <a:buFont typeface="+mj-lt"/>
              <a:buAutoNum type="arabicPeriod"/>
            </a:pPr>
            <a:r>
              <a:rPr lang="en-GB" dirty="0" smtClean="0"/>
              <a:t>How </a:t>
            </a:r>
            <a:r>
              <a:rPr lang="en-GB" dirty="0"/>
              <a:t>fast do developers get feedback – could </a:t>
            </a:r>
            <a:r>
              <a:rPr lang="en-GB" dirty="0" smtClean="0"/>
              <a:t>Continuous </a:t>
            </a:r>
            <a:r>
              <a:rPr lang="en-GB" dirty="0"/>
              <a:t>Integration or </a:t>
            </a:r>
            <a:r>
              <a:rPr lang="en-GB" dirty="0" smtClean="0"/>
              <a:t>Continuous </a:t>
            </a:r>
            <a:r>
              <a:rPr lang="en-GB" dirty="0"/>
              <a:t>Delivery be trialled (with a Hypothesis of </a:t>
            </a:r>
            <a:r>
              <a:rPr lang="en-GB" dirty="0" smtClean="0"/>
              <a:t>course)?</a:t>
            </a:r>
            <a:endParaRPr lang="en-GB" dirty="0"/>
          </a:p>
          <a:p>
            <a:pPr marL="342900" indent="-342900">
              <a:buFont typeface="+mj-lt"/>
              <a:buAutoNum type="arabicPeriod"/>
            </a:pPr>
            <a:endParaRPr lang="en-GB" dirty="0"/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Is there an </a:t>
            </a:r>
            <a:r>
              <a:rPr lang="en-GB" dirty="0" smtClean="0"/>
              <a:t>opportunity </a:t>
            </a:r>
            <a:r>
              <a:rPr lang="en-GB" dirty="0"/>
              <a:t>to create a new “field” </a:t>
            </a:r>
            <a:r>
              <a:rPr lang="en-GB" dirty="0" smtClean="0"/>
              <a:t>– could you </a:t>
            </a:r>
            <a:r>
              <a:rPr lang="en-GB" dirty="0"/>
              <a:t>start small with a new product in the cloud with end to end teams (perhaps using the DevOps Platform</a:t>
            </a:r>
            <a:r>
              <a:rPr lang="en-GB" dirty="0" smtClean="0"/>
              <a:t>)?</a:t>
            </a:r>
          </a:p>
          <a:p>
            <a:pPr marL="342900" indent="-342900">
              <a:buFont typeface="+mj-lt"/>
              <a:buAutoNum type="arabicPeriod"/>
            </a:pPr>
            <a:endParaRPr lang="en-GB" dirty="0" smtClean="0"/>
          </a:p>
          <a:p>
            <a:pPr marL="342900" indent="-342900">
              <a:buFont typeface="+mj-lt"/>
              <a:buAutoNum type="arabicPeriod"/>
            </a:pPr>
            <a:r>
              <a:rPr lang="en-GB" dirty="0" smtClean="0"/>
              <a:t>Yammer </a:t>
            </a:r>
            <a:r>
              <a:rPr lang="en-GB" dirty="0"/>
              <a:t>about what you are doing and work with us (crowdsource) </a:t>
            </a:r>
          </a:p>
          <a:p>
            <a:pPr marL="342900" indent="-342900">
              <a:buFont typeface="+mj-lt"/>
              <a:buAutoNum type="arabicPeriod"/>
            </a:pPr>
            <a:endParaRPr lang="en-GB" dirty="0" smtClean="0"/>
          </a:p>
          <a:p>
            <a:pPr marL="342900" indent="-342900">
              <a:buFont typeface="+mj-lt"/>
              <a:buAutoNum type="arabicPeriod"/>
            </a:pPr>
            <a:r>
              <a:rPr lang="en-GB" dirty="0" smtClean="0"/>
              <a:t>Show people : </a:t>
            </a:r>
            <a:r>
              <a:rPr lang="en-GB" dirty="0">
                <a:hlinkClick r:id="rId3"/>
              </a:rPr>
              <a:t>https://</a:t>
            </a:r>
            <a:r>
              <a:rPr lang="en-GB" dirty="0" smtClean="0">
                <a:hlinkClick r:id="rId3"/>
              </a:rPr>
              <a:t>mediaexchange.accenture.com/media/t/1_kz34icui</a:t>
            </a:r>
            <a:r>
              <a:rPr lang="en-GB" dirty="0" smtClean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79537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rtin">
  <a:themeElements>
    <a:clrScheme name="Accenture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00BBEE"/>
      </a:accent1>
      <a:accent2>
        <a:srgbClr val="66AA44"/>
      </a:accent2>
      <a:accent3>
        <a:srgbClr val="FF9900"/>
      </a:accent3>
      <a:accent4>
        <a:srgbClr val="002266"/>
      </a:accent4>
      <a:accent5>
        <a:srgbClr val="00BBEE"/>
      </a:accent5>
      <a:accent6>
        <a:srgbClr val="66AA44"/>
      </a:accent6>
      <a:hlink>
        <a:srgbClr val="FF9900"/>
      </a:hlink>
      <a:folHlink>
        <a:srgbClr val="00226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2-4142 Cloud template">
  <a:themeElements>
    <a:clrScheme name="Accenture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00BBEE"/>
      </a:accent1>
      <a:accent2>
        <a:srgbClr val="66AA44"/>
      </a:accent2>
      <a:accent3>
        <a:srgbClr val="FF9900"/>
      </a:accent3>
      <a:accent4>
        <a:srgbClr val="002266"/>
      </a:accent4>
      <a:accent5>
        <a:srgbClr val="00BBEE"/>
      </a:accent5>
      <a:accent6>
        <a:srgbClr val="66AA44"/>
      </a:accent6>
      <a:hlink>
        <a:srgbClr val="FF9900"/>
      </a:hlink>
      <a:folHlink>
        <a:srgbClr val="00226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rtin</Template>
  <TotalTime>10405</TotalTime>
  <Words>333</Words>
  <Application>Microsoft Office PowerPoint</Application>
  <PresentationFormat>On-screen Show (4:3)</PresentationFormat>
  <Paragraphs>78</Paragraphs>
  <Slides>10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gfa Rotis Sans Serif</vt:lpstr>
      <vt:lpstr>Arial</vt:lpstr>
      <vt:lpstr>Calibri</vt:lpstr>
      <vt:lpstr>MV Boli</vt:lpstr>
      <vt:lpstr>Martin</vt:lpstr>
      <vt:lpstr>12-4142 Cloud template</vt:lpstr>
      <vt:lpstr>think-cell Slide</vt:lpstr>
      <vt:lpstr>Closing</vt:lpstr>
      <vt:lpstr>What’s next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o Back and Preach</vt:lpstr>
      <vt:lpstr>Go Back and Preach – other ideas</vt:lpstr>
      <vt:lpstr>Fearless change</vt:lpstr>
    </vt:vector>
  </TitlesOfParts>
  <Company>Accentu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fur, Abul K.</dc:creator>
  <cp:lastModifiedBy>Markos Rendell</cp:lastModifiedBy>
  <cp:revision>127</cp:revision>
  <dcterms:created xsi:type="dcterms:W3CDTF">2014-10-28T11:22:42Z</dcterms:created>
  <dcterms:modified xsi:type="dcterms:W3CDTF">2015-12-07T08:28:24Z</dcterms:modified>
</cp:coreProperties>
</file>